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9EFF"/>
    <a:srgbClr val="E8FE16"/>
    <a:srgbClr val="C8DD01"/>
    <a:srgbClr val="A5A1F5"/>
    <a:srgbClr val="3E36E3"/>
    <a:srgbClr val="85D3FF"/>
    <a:srgbClr val="89FFF7"/>
    <a:srgbClr val="00C8B9"/>
    <a:srgbClr val="19FFC3"/>
    <a:srgbClr val="00E9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44" autoAdjust="0"/>
    <p:restoredTop sz="94660"/>
  </p:normalViewPr>
  <p:slideViewPr>
    <p:cSldViewPr snapToGrid="0">
      <p:cViewPr varScale="1">
        <p:scale>
          <a:sx n="62" d="100"/>
          <a:sy n="62" d="100"/>
        </p:scale>
        <p:origin x="144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E14D1-C4D2-468A-AF1A-05BDECDD38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9C2D30-7CCA-4B4F-9B4B-78BF8B4F5D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302005-A464-4861-AC41-F48605047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180D8-7888-4813-82B7-21B38B127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09B4C6-E373-4E04-B134-964736770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96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DBE41-60A4-4A0A-BFC4-231D2C1F6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4B733A-F5AC-4F51-8928-CCCEE79A37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64C8CA-9136-4573-84C9-C5A92B92E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E904C-19D3-48D6-A084-E7527E999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1FBF1-EF4B-4F42-BCBE-E2029548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86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7D484-1C61-4291-86EB-DCB72FA4BD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B952A-2446-456F-A781-CE60359630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14FDE8-DF03-4CD2-AFA5-F9544654B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215AF-4547-408E-9B1B-84C01AFF1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E8FC8-CFC7-4386-B82F-E90177FF4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96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2FB7-E095-4E7F-A6C4-1BB0ED9A3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31C62B-FD82-4E4C-8D96-F9502262BD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C6C46-010C-48C1-86E8-81CEF3FCE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1CFE6-BBD3-45DD-BE46-88358F944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DE0DC-81D4-4D2E-B3A1-F310655E3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79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1DFAF-ECF8-4361-9DFD-D4FDAD599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4B328-4FF3-40AC-990E-42285849D7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BDBA9-CE3B-4766-A041-DE1EAF198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8474F-C997-4832-9200-0857DB2BB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47020F-1737-40CA-9D47-D7A260E6F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1981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61B3C-4D0A-46A9-8CDE-85DB9D6C5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90536D-1105-4AE9-8E01-88E4A6911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CB6F5C-6B19-4A22-AA98-6DCC5E9FE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243147-3C59-41A8-8A8D-E4C3EA906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E4AEED-FA88-43F5-AB19-7E89D331F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81B7FC-3949-40B0-A519-EA5FD161D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932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B4CA9-A163-4B0A-AEA0-09F6E37CD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50B37-F8D9-49C3-A0A3-A5312193AB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21D0B9-2F9E-4837-B288-3F70C23C66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53E32A-60EA-4EA4-829C-FE53E329C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42DA12-21D2-4E32-880D-C8ABE36E57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2BEDD3-5544-4762-B81F-37037621B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56868-77AC-45E4-9CEF-91191A8BF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3C8E0-79F6-4E5E-AB5D-5BECB5DEC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55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DD17E-AFB4-4BB9-8D44-645D5B4D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AA2D35-2736-4B00-BA60-5A199D738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CAE6C-13F1-4B09-A8CD-F2C55C418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80731C-D4F9-41CB-BBF1-DC66E22C9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560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A7E982-4257-4D42-968B-7D9ED6A8B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93DDFC-ACC8-40AA-9B57-F91007BB4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13F98E-318D-44DF-8864-3D368E83E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087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7D22C-44C0-4C62-ADEC-A1D471927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8CBEF-C53B-4645-AC90-F3B5BA348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9199E-046D-48D8-9891-481E08B339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3D0212-0591-45CD-9AC9-A117ED13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5A6E7-D8CB-4443-A522-8CF19291F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4CD414-B027-42C7-9EF5-9838E2FD9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618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E2CCF-ECF9-4E89-8379-0AAC6E000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9F5CA-4468-4A64-8C47-0F5873DE94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AABB4-C7D8-40D9-8F57-677D383293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5FFF6B-215C-4BD3-ABB5-F65B73EAA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E86E5B-4ADE-41AC-831D-732D52B91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6376ED-CE6C-4832-A911-69CCE9026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563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70D4AC-35ED-4638-ADF6-A7D44F2BD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1729C-FE2A-413E-A8CB-61735AFE4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9AEAC-842F-4039-ABA7-55540A63C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81778D-BD8F-4549-8079-C0316B66299C}" type="datetimeFigureOut">
              <a:rPr lang="en-US" smtClean="0"/>
              <a:t>23/0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9D9916-8A66-4895-A379-C22B256CE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054720-508F-4CA9-AB38-FC60D3BBC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9752F-C9CF-4F60-BE3D-89B4993D8B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94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slideLayout" Target="../slideLayouts/slideLayout1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tags" Target="../tags/tag83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slideLayout" Target="../slideLayouts/slideLayout2.xml"/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get2">
            <a:extLst>
              <a:ext uri="{FF2B5EF4-FFF2-40B4-BE49-F238E27FC236}">
                <a16:creationId xmlns:a16="http://schemas.microsoft.com/office/drawing/2014/main" id="{23835F15-09CC-4722-ABA5-FF47A5CF26C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547384" y="6158431"/>
            <a:ext cx="365079" cy="265733"/>
          </a:xfrm>
          <a:custGeom>
            <a:avLst/>
            <a:gdLst>
              <a:gd name="T0" fmla="*/ 297 w 980"/>
              <a:gd name="T1" fmla="*/ 214 h 713"/>
              <a:gd name="T2" fmla="*/ 620 w 980"/>
              <a:gd name="T3" fmla="*/ 51 h 713"/>
              <a:gd name="T4" fmla="*/ 620 w 980"/>
              <a:gd name="T5" fmla="*/ 663 h 713"/>
              <a:gd name="T6" fmla="*/ 329 w 980"/>
              <a:gd name="T7" fmla="*/ 260 h 713"/>
              <a:gd name="T8" fmla="*/ 267 w 980"/>
              <a:gd name="T9" fmla="*/ 356 h 713"/>
              <a:gd name="T10" fmla="*/ 980 w 980"/>
              <a:gd name="T11" fmla="*/ 356 h 713"/>
              <a:gd name="T12" fmla="*/ 22 w 980"/>
              <a:gd name="T13" fmla="*/ 76 h 713"/>
              <a:gd name="T14" fmla="*/ 0 w 980"/>
              <a:gd name="T15" fmla="*/ 142 h 713"/>
              <a:gd name="T16" fmla="*/ 94 w 980"/>
              <a:gd name="T17" fmla="*/ 164 h 713"/>
              <a:gd name="T18" fmla="*/ 593 w 980"/>
              <a:gd name="T19" fmla="*/ 357 h 713"/>
              <a:gd name="T20" fmla="*/ 587 w 980"/>
              <a:gd name="T21" fmla="*/ 394 h 713"/>
              <a:gd name="T22" fmla="*/ 617 w 980"/>
              <a:gd name="T23" fmla="*/ 291 h 713"/>
              <a:gd name="T24" fmla="*/ 603 w 980"/>
              <a:gd name="T25" fmla="*/ 334 h 713"/>
              <a:gd name="T26" fmla="*/ 107 w 980"/>
              <a:gd name="T27" fmla="*/ 142 h 713"/>
              <a:gd name="T28" fmla="*/ 22 w 980"/>
              <a:gd name="T29" fmla="*/ 76 h 713"/>
              <a:gd name="T30" fmla="*/ 379 w 980"/>
              <a:gd name="T31" fmla="*/ 246 h 713"/>
              <a:gd name="T32" fmla="*/ 620 w 980"/>
              <a:gd name="T33" fmla="*/ 144 h 713"/>
              <a:gd name="T34" fmla="*/ 620 w 980"/>
              <a:gd name="T35" fmla="*/ 569 h 713"/>
              <a:gd name="T36" fmla="*/ 417 w 980"/>
              <a:gd name="T37" fmla="*/ 291 h 713"/>
              <a:gd name="T38" fmla="*/ 355 w 980"/>
              <a:gd name="T39" fmla="*/ 356 h 713"/>
              <a:gd name="T40" fmla="*/ 885 w 980"/>
              <a:gd name="T41" fmla="*/ 356 h 713"/>
              <a:gd name="T42" fmla="*/ 620 w 980"/>
              <a:gd name="T43" fmla="*/ 181 h 713"/>
              <a:gd name="T44" fmla="*/ 512 w 980"/>
              <a:gd name="T45" fmla="*/ 298 h 713"/>
              <a:gd name="T46" fmla="*/ 743 w 980"/>
              <a:gd name="T47" fmla="*/ 356 h 713"/>
              <a:gd name="T48" fmla="*/ 497 w 980"/>
              <a:gd name="T49" fmla="*/ 356 h 713"/>
              <a:gd name="T50" fmla="*/ 452 w 980"/>
              <a:gd name="T51" fmla="*/ 305 h 713"/>
              <a:gd name="T52" fmla="*/ 620 w 980"/>
              <a:gd name="T53" fmla="*/ 532 h 713"/>
              <a:gd name="T54" fmla="*/ 620 w 980"/>
              <a:gd name="T55" fmla="*/ 181 h 713"/>
              <a:gd name="T56" fmla="*/ 548 w 980"/>
              <a:gd name="T57" fmla="*/ 310 h 713"/>
              <a:gd name="T58" fmla="*/ 615 w 980"/>
              <a:gd name="T59" fmla="*/ 287 h 713"/>
              <a:gd name="T60" fmla="*/ 618 w 980"/>
              <a:gd name="T61" fmla="*/ 286 h 713"/>
              <a:gd name="T62" fmla="*/ 663 w 980"/>
              <a:gd name="T63" fmla="*/ 357 h 713"/>
              <a:gd name="T64" fmla="*/ 585 w 980"/>
              <a:gd name="T65" fmla="*/ 399 h 713"/>
              <a:gd name="T66" fmla="*/ 583 w 980"/>
              <a:gd name="T67" fmla="*/ 397 h 713"/>
              <a:gd name="T68" fmla="*/ 537 w 980"/>
              <a:gd name="T69" fmla="*/ 338 h 713"/>
              <a:gd name="T70" fmla="*/ 620 w 980"/>
              <a:gd name="T71" fmla="*/ 442 h 713"/>
              <a:gd name="T72" fmla="*/ 620 w 980"/>
              <a:gd name="T73" fmla="*/ 271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80" h="713">
                <a:moveTo>
                  <a:pt x="624" y="0"/>
                </a:moveTo>
                <a:cubicBezTo>
                  <a:pt x="478" y="0"/>
                  <a:pt x="352" y="88"/>
                  <a:pt x="297" y="214"/>
                </a:cubicBezTo>
                <a:lnTo>
                  <a:pt x="341" y="231"/>
                </a:lnTo>
                <a:cubicBezTo>
                  <a:pt x="389" y="125"/>
                  <a:pt x="496" y="51"/>
                  <a:pt x="620" y="51"/>
                </a:cubicBezTo>
                <a:cubicBezTo>
                  <a:pt x="788" y="51"/>
                  <a:pt x="926" y="188"/>
                  <a:pt x="926" y="356"/>
                </a:cubicBezTo>
                <a:cubicBezTo>
                  <a:pt x="926" y="525"/>
                  <a:pt x="788" y="663"/>
                  <a:pt x="620" y="663"/>
                </a:cubicBezTo>
                <a:cubicBezTo>
                  <a:pt x="451" y="663"/>
                  <a:pt x="314" y="525"/>
                  <a:pt x="314" y="356"/>
                </a:cubicBezTo>
                <a:cubicBezTo>
                  <a:pt x="314" y="322"/>
                  <a:pt x="318" y="291"/>
                  <a:pt x="329" y="260"/>
                </a:cubicBezTo>
                <a:lnTo>
                  <a:pt x="286" y="243"/>
                </a:lnTo>
                <a:cubicBezTo>
                  <a:pt x="273" y="279"/>
                  <a:pt x="267" y="316"/>
                  <a:pt x="267" y="356"/>
                </a:cubicBezTo>
                <a:cubicBezTo>
                  <a:pt x="267" y="553"/>
                  <a:pt x="427" y="713"/>
                  <a:pt x="624" y="713"/>
                </a:cubicBezTo>
                <a:cubicBezTo>
                  <a:pt x="821" y="713"/>
                  <a:pt x="980" y="553"/>
                  <a:pt x="980" y="356"/>
                </a:cubicBezTo>
                <a:cubicBezTo>
                  <a:pt x="980" y="160"/>
                  <a:pt x="821" y="0"/>
                  <a:pt x="624" y="0"/>
                </a:cubicBezTo>
                <a:close/>
                <a:moveTo>
                  <a:pt x="22" y="76"/>
                </a:moveTo>
                <a:cubicBezTo>
                  <a:pt x="56" y="114"/>
                  <a:pt x="60" y="134"/>
                  <a:pt x="60" y="134"/>
                </a:cubicBezTo>
                <a:cubicBezTo>
                  <a:pt x="60" y="134"/>
                  <a:pt x="48" y="140"/>
                  <a:pt x="0" y="142"/>
                </a:cubicBezTo>
                <a:cubicBezTo>
                  <a:pt x="0" y="142"/>
                  <a:pt x="50" y="172"/>
                  <a:pt x="77" y="172"/>
                </a:cubicBezTo>
                <a:cubicBezTo>
                  <a:pt x="83" y="172"/>
                  <a:pt x="94" y="164"/>
                  <a:pt x="94" y="164"/>
                </a:cubicBezTo>
                <a:lnTo>
                  <a:pt x="591" y="356"/>
                </a:lnTo>
                <a:lnTo>
                  <a:pt x="593" y="357"/>
                </a:lnTo>
                <a:lnTo>
                  <a:pt x="598" y="359"/>
                </a:lnTo>
                <a:lnTo>
                  <a:pt x="587" y="394"/>
                </a:lnTo>
                <a:lnTo>
                  <a:pt x="658" y="356"/>
                </a:lnTo>
                <a:lnTo>
                  <a:pt x="617" y="291"/>
                </a:lnTo>
                <a:lnTo>
                  <a:pt x="603" y="333"/>
                </a:lnTo>
                <a:lnTo>
                  <a:pt x="603" y="334"/>
                </a:lnTo>
                <a:cubicBezTo>
                  <a:pt x="601" y="334"/>
                  <a:pt x="602" y="334"/>
                  <a:pt x="602" y="334"/>
                </a:cubicBezTo>
                <a:lnTo>
                  <a:pt x="107" y="142"/>
                </a:lnTo>
                <a:cubicBezTo>
                  <a:pt x="107" y="142"/>
                  <a:pt x="101" y="121"/>
                  <a:pt x="93" y="113"/>
                </a:cubicBezTo>
                <a:cubicBezTo>
                  <a:pt x="75" y="94"/>
                  <a:pt x="22" y="76"/>
                  <a:pt x="22" y="76"/>
                </a:cubicBezTo>
                <a:close/>
                <a:moveTo>
                  <a:pt x="620" y="92"/>
                </a:moveTo>
                <a:cubicBezTo>
                  <a:pt x="513" y="92"/>
                  <a:pt x="421" y="155"/>
                  <a:pt x="379" y="246"/>
                </a:cubicBezTo>
                <a:lnTo>
                  <a:pt x="428" y="265"/>
                </a:lnTo>
                <a:cubicBezTo>
                  <a:pt x="462" y="194"/>
                  <a:pt x="535" y="144"/>
                  <a:pt x="620" y="144"/>
                </a:cubicBezTo>
                <a:cubicBezTo>
                  <a:pt x="737" y="144"/>
                  <a:pt x="832" y="239"/>
                  <a:pt x="832" y="356"/>
                </a:cubicBezTo>
                <a:cubicBezTo>
                  <a:pt x="832" y="474"/>
                  <a:pt x="737" y="569"/>
                  <a:pt x="620" y="569"/>
                </a:cubicBezTo>
                <a:cubicBezTo>
                  <a:pt x="503" y="569"/>
                  <a:pt x="407" y="474"/>
                  <a:pt x="407" y="356"/>
                </a:cubicBezTo>
                <a:cubicBezTo>
                  <a:pt x="407" y="333"/>
                  <a:pt x="410" y="312"/>
                  <a:pt x="417" y="291"/>
                </a:cubicBezTo>
                <a:lnTo>
                  <a:pt x="369" y="273"/>
                </a:lnTo>
                <a:cubicBezTo>
                  <a:pt x="360" y="300"/>
                  <a:pt x="355" y="327"/>
                  <a:pt x="355" y="356"/>
                </a:cubicBezTo>
                <a:cubicBezTo>
                  <a:pt x="355" y="503"/>
                  <a:pt x="474" y="621"/>
                  <a:pt x="620" y="621"/>
                </a:cubicBezTo>
                <a:cubicBezTo>
                  <a:pt x="766" y="621"/>
                  <a:pt x="885" y="503"/>
                  <a:pt x="885" y="356"/>
                </a:cubicBezTo>
                <a:cubicBezTo>
                  <a:pt x="885" y="210"/>
                  <a:pt x="766" y="92"/>
                  <a:pt x="620" y="92"/>
                </a:cubicBezTo>
                <a:close/>
                <a:moveTo>
                  <a:pt x="620" y="181"/>
                </a:moveTo>
                <a:cubicBezTo>
                  <a:pt x="551" y="181"/>
                  <a:pt x="492" y="221"/>
                  <a:pt x="463" y="278"/>
                </a:cubicBezTo>
                <a:lnTo>
                  <a:pt x="512" y="298"/>
                </a:lnTo>
                <a:cubicBezTo>
                  <a:pt x="533" y="260"/>
                  <a:pt x="573" y="234"/>
                  <a:pt x="620" y="234"/>
                </a:cubicBezTo>
                <a:cubicBezTo>
                  <a:pt x="687" y="234"/>
                  <a:pt x="743" y="289"/>
                  <a:pt x="743" y="356"/>
                </a:cubicBezTo>
                <a:cubicBezTo>
                  <a:pt x="743" y="424"/>
                  <a:pt x="687" y="479"/>
                  <a:pt x="620" y="479"/>
                </a:cubicBezTo>
                <a:cubicBezTo>
                  <a:pt x="552" y="479"/>
                  <a:pt x="497" y="424"/>
                  <a:pt x="497" y="356"/>
                </a:cubicBezTo>
                <a:cubicBezTo>
                  <a:pt x="497" y="345"/>
                  <a:pt x="498" y="335"/>
                  <a:pt x="501" y="324"/>
                </a:cubicBezTo>
                <a:lnTo>
                  <a:pt x="452" y="305"/>
                </a:lnTo>
                <a:cubicBezTo>
                  <a:pt x="447" y="322"/>
                  <a:pt x="444" y="338"/>
                  <a:pt x="444" y="356"/>
                </a:cubicBezTo>
                <a:cubicBezTo>
                  <a:pt x="444" y="453"/>
                  <a:pt x="523" y="532"/>
                  <a:pt x="620" y="532"/>
                </a:cubicBezTo>
                <a:cubicBezTo>
                  <a:pt x="716" y="532"/>
                  <a:pt x="795" y="453"/>
                  <a:pt x="795" y="356"/>
                </a:cubicBezTo>
                <a:cubicBezTo>
                  <a:pt x="795" y="260"/>
                  <a:pt x="716" y="181"/>
                  <a:pt x="620" y="181"/>
                </a:cubicBezTo>
                <a:close/>
                <a:moveTo>
                  <a:pt x="620" y="271"/>
                </a:moveTo>
                <a:cubicBezTo>
                  <a:pt x="590" y="271"/>
                  <a:pt x="564" y="287"/>
                  <a:pt x="548" y="310"/>
                </a:cubicBezTo>
                <a:lnTo>
                  <a:pt x="600" y="330"/>
                </a:lnTo>
                <a:lnTo>
                  <a:pt x="615" y="287"/>
                </a:lnTo>
                <a:lnTo>
                  <a:pt x="616" y="283"/>
                </a:lnTo>
                <a:lnTo>
                  <a:pt x="618" y="286"/>
                </a:lnTo>
                <a:lnTo>
                  <a:pt x="662" y="356"/>
                </a:lnTo>
                <a:lnTo>
                  <a:pt x="663" y="357"/>
                </a:lnTo>
                <a:lnTo>
                  <a:pt x="662" y="358"/>
                </a:lnTo>
                <a:lnTo>
                  <a:pt x="585" y="399"/>
                </a:lnTo>
                <a:lnTo>
                  <a:pt x="581" y="401"/>
                </a:lnTo>
                <a:lnTo>
                  <a:pt x="583" y="397"/>
                </a:lnTo>
                <a:lnTo>
                  <a:pt x="594" y="360"/>
                </a:lnTo>
                <a:lnTo>
                  <a:pt x="537" y="338"/>
                </a:lnTo>
                <a:cubicBezTo>
                  <a:pt x="535" y="344"/>
                  <a:pt x="535" y="350"/>
                  <a:pt x="535" y="356"/>
                </a:cubicBezTo>
                <a:cubicBezTo>
                  <a:pt x="535" y="403"/>
                  <a:pt x="573" y="442"/>
                  <a:pt x="620" y="442"/>
                </a:cubicBezTo>
                <a:cubicBezTo>
                  <a:pt x="667" y="442"/>
                  <a:pt x="705" y="403"/>
                  <a:pt x="705" y="356"/>
                </a:cubicBezTo>
                <a:cubicBezTo>
                  <a:pt x="705" y="309"/>
                  <a:pt x="667" y="271"/>
                  <a:pt x="620" y="27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B148C3-5296-47ED-A3ED-E9875F185239}"/>
              </a:ext>
            </a:extLst>
          </p:cNvPr>
          <p:cNvGrpSpPr/>
          <p:nvPr/>
        </p:nvGrpSpPr>
        <p:grpSpPr>
          <a:xfrm>
            <a:off x="5601090" y="6132391"/>
            <a:ext cx="254017" cy="201645"/>
            <a:chOff x="1631140" y="902248"/>
            <a:chExt cx="2555268" cy="2728283"/>
          </a:xfrm>
        </p:grpSpPr>
        <p:sp>
          <p:nvSpPr>
            <p:cNvPr id="6" name="Freeform 47">
              <a:extLst>
                <a:ext uri="{FF2B5EF4-FFF2-40B4-BE49-F238E27FC236}">
                  <a16:creationId xmlns:a16="http://schemas.microsoft.com/office/drawing/2014/main" id="{22A80C8F-7D0D-4355-A052-54F61AA3A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140" y="902248"/>
              <a:ext cx="2555268" cy="2728283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49">
              <a:extLst>
                <a:ext uri="{FF2B5EF4-FFF2-40B4-BE49-F238E27FC236}">
                  <a16:creationId xmlns:a16="http://schemas.microsoft.com/office/drawing/2014/main" id="{8A76535B-D88B-4903-AAA7-7D882C881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972" y="1700059"/>
              <a:ext cx="1197782" cy="958226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Thinking">
            <a:extLst>
              <a:ext uri="{FF2B5EF4-FFF2-40B4-BE49-F238E27FC236}">
                <a16:creationId xmlns:a16="http://schemas.microsoft.com/office/drawing/2014/main" id="{3C8539FA-8042-4D55-A0BC-07E33DD26FA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6164844" y="6099399"/>
            <a:ext cx="286576" cy="341609"/>
            <a:chOff x="6971" y="3273"/>
            <a:chExt cx="703" cy="838"/>
          </a:xfrm>
          <a:solidFill>
            <a:schemeClr val="bg1"/>
          </a:solidFill>
        </p:grpSpPr>
        <p:sp>
          <p:nvSpPr>
            <p:cNvPr id="9" name="Oval 608">
              <a:extLst>
                <a:ext uri="{FF2B5EF4-FFF2-40B4-BE49-F238E27FC236}">
                  <a16:creationId xmlns:a16="http://schemas.microsoft.com/office/drawing/2014/main" id="{0AC6326D-E2F3-4B3F-9362-855A6EF16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" y="3478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609">
              <a:extLst>
                <a:ext uri="{FF2B5EF4-FFF2-40B4-BE49-F238E27FC236}">
                  <a16:creationId xmlns:a16="http://schemas.microsoft.com/office/drawing/2014/main" id="{9C28D797-360A-4D45-93DB-203CE0CC5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0" y="3720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610">
              <a:extLst>
                <a:ext uri="{FF2B5EF4-FFF2-40B4-BE49-F238E27FC236}">
                  <a16:creationId xmlns:a16="http://schemas.microsoft.com/office/drawing/2014/main" id="{89CFAFED-9852-4732-B397-93C226A05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2" y="3442"/>
              <a:ext cx="67" cy="6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11">
              <a:extLst>
                <a:ext uri="{FF2B5EF4-FFF2-40B4-BE49-F238E27FC236}">
                  <a16:creationId xmlns:a16="http://schemas.microsoft.com/office/drawing/2014/main" id="{71E3E92D-6BFB-4624-A497-1815B66E5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1" y="3273"/>
              <a:ext cx="703" cy="838"/>
            </a:xfrm>
            <a:custGeom>
              <a:avLst/>
              <a:gdLst>
                <a:gd name="T0" fmla="*/ 102 w 1051"/>
                <a:gd name="T1" fmla="*/ 483 h 1250"/>
                <a:gd name="T2" fmla="*/ 38 w 1051"/>
                <a:gd name="T3" fmla="*/ 785 h 1250"/>
                <a:gd name="T4" fmla="*/ 289 w 1051"/>
                <a:gd name="T5" fmla="*/ 1105 h 1250"/>
                <a:gd name="T6" fmla="*/ 869 w 1051"/>
                <a:gd name="T7" fmla="*/ 1250 h 1250"/>
                <a:gd name="T8" fmla="*/ 576 w 1051"/>
                <a:gd name="T9" fmla="*/ 0 h 1250"/>
                <a:gd name="T10" fmla="*/ 218 w 1051"/>
                <a:gd name="T11" fmla="*/ 471 h 1250"/>
                <a:gd name="T12" fmla="*/ 918 w 1051"/>
                <a:gd name="T13" fmla="*/ 505 h 1250"/>
                <a:gd name="T14" fmla="*/ 772 w 1051"/>
                <a:gd name="T15" fmla="*/ 526 h 1250"/>
                <a:gd name="T16" fmla="*/ 790 w 1051"/>
                <a:gd name="T17" fmla="*/ 627 h 1250"/>
                <a:gd name="T18" fmla="*/ 843 w 1051"/>
                <a:gd name="T19" fmla="*/ 618 h 1250"/>
                <a:gd name="T20" fmla="*/ 855 w 1051"/>
                <a:gd name="T21" fmla="*/ 694 h 1250"/>
                <a:gd name="T22" fmla="*/ 853 w 1051"/>
                <a:gd name="T23" fmla="*/ 738 h 1250"/>
                <a:gd name="T24" fmla="*/ 862 w 1051"/>
                <a:gd name="T25" fmla="*/ 791 h 1250"/>
                <a:gd name="T26" fmla="*/ 786 w 1051"/>
                <a:gd name="T27" fmla="*/ 803 h 1250"/>
                <a:gd name="T28" fmla="*/ 742 w 1051"/>
                <a:gd name="T29" fmla="*/ 801 h 1250"/>
                <a:gd name="T30" fmla="*/ 689 w 1051"/>
                <a:gd name="T31" fmla="*/ 810 h 1250"/>
                <a:gd name="T32" fmla="*/ 677 w 1051"/>
                <a:gd name="T33" fmla="*/ 734 h 1250"/>
                <a:gd name="T34" fmla="*/ 679 w 1051"/>
                <a:gd name="T35" fmla="*/ 690 h 1250"/>
                <a:gd name="T36" fmla="*/ 670 w 1051"/>
                <a:gd name="T37" fmla="*/ 637 h 1250"/>
                <a:gd name="T38" fmla="*/ 746 w 1051"/>
                <a:gd name="T39" fmla="*/ 625 h 1250"/>
                <a:gd name="T40" fmla="*/ 678 w 1051"/>
                <a:gd name="T41" fmla="*/ 524 h 1250"/>
                <a:gd name="T42" fmla="*/ 584 w 1051"/>
                <a:gd name="T43" fmla="*/ 549 h 1250"/>
                <a:gd name="T44" fmla="*/ 563 w 1051"/>
                <a:gd name="T45" fmla="*/ 403 h 1250"/>
                <a:gd name="T46" fmla="*/ 458 w 1051"/>
                <a:gd name="T47" fmla="*/ 340 h 1250"/>
                <a:gd name="T48" fmla="*/ 475 w 1051"/>
                <a:gd name="T49" fmla="*/ 400 h 1250"/>
                <a:gd name="T50" fmla="*/ 381 w 1051"/>
                <a:gd name="T51" fmla="*/ 414 h 1250"/>
                <a:gd name="T52" fmla="*/ 319 w 1051"/>
                <a:gd name="T53" fmla="*/ 412 h 1250"/>
                <a:gd name="T54" fmla="*/ 258 w 1051"/>
                <a:gd name="T55" fmla="*/ 429 h 1250"/>
                <a:gd name="T56" fmla="*/ 245 w 1051"/>
                <a:gd name="T57" fmla="*/ 334 h 1250"/>
                <a:gd name="T58" fmla="*/ 246 w 1051"/>
                <a:gd name="T59" fmla="*/ 272 h 1250"/>
                <a:gd name="T60" fmla="*/ 229 w 1051"/>
                <a:gd name="T61" fmla="*/ 212 h 1250"/>
                <a:gd name="T62" fmla="*/ 324 w 1051"/>
                <a:gd name="T63" fmla="*/ 198 h 1250"/>
                <a:gd name="T64" fmla="*/ 386 w 1051"/>
                <a:gd name="T65" fmla="*/ 200 h 1250"/>
                <a:gd name="T66" fmla="*/ 447 w 1051"/>
                <a:gd name="T67" fmla="*/ 183 h 1250"/>
                <a:gd name="T68" fmla="*/ 460 w 1051"/>
                <a:gd name="T69" fmla="*/ 278 h 1250"/>
                <a:gd name="T70" fmla="*/ 566 w 1051"/>
                <a:gd name="T71" fmla="*/ 309 h 1250"/>
                <a:gd name="T72" fmla="*/ 541 w 1051"/>
                <a:gd name="T73" fmla="*/ 215 h 1250"/>
                <a:gd name="T74" fmla="*/ 687 w 1051"/>
                <a:gd name="T75" fmla="*/ 194 h 1250"/>
                <a:gd name="T76" fmla="*/ 781 w 1051"/>
                <a:gd name="T77" fmla="*/ 197 h 1250"/>
                <a:gd name="T78" fmla="*/ 875 w 1051"/>
                <a:gd name="T79" fmla="*/ 171 h 1250"/>
                <a:gd name="T80" fmla="*/ 896 w 1051"/>
                <a:gd name="T81" fmla="*/ 317 h 1250"/>
                <a:gd name="T82" fmla="*/ 893 w 1051"/>
                <a:gd name="T83" fmla="*/ 412 h 1250"/>
                <a:gd name="T84" fmla="*/ 918 w 1051"/>
                <a:gd name="T85" fmla="*/ 505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1" h="1250">
                  <a:moveTo>
                    <a:pt x="576" y="0"/>
                  </a:moveTo>
                  <a:cubicBezTo>
                    <a:pt x="361" y="0"/>
                    <a:pt x="163" y="162"/>
                    <a:pt x="122" y="340"/>
                  </a:cubicBezTo>
                  <a:cubicBezTo>
                    <a:pt x="112" y="379"/>
                    <a:pt x="102" y="483"/>
                    <a:pt x="102" y="483"/>
                  </a:cubicBezTo>
                  <a:lnTo>
                    <a:pt x="3" y="732"/>
                  </a:lnTo>
                  <a:cubicBezTo>
                    <a:pt x="1" y="737"/>
                    <a:pt x="0" y="742"/>
                    <a:pt x="0" y="747"/>
                  </a:cubicBezTo>
                  <a:cubicBezTo>
                    <a:pt x="0" y="768"/>
                    <a:pt x="17" y="785"/>
                    <a:pt x="38" y="785"/>
                  </a:cubicBezTo>
                  <a:lnTo>
                    <a:pt x="102" y="785"/>
                  </a:lnTo>
                  <a:lnTo>
                    <a:pt x="102" y="918"/>
                  </a:lnTo>
                  <a:cubicBezTo>
                    <a:pt x="102" y="1021"/>
                    <a:pt x="186" y="1105"/>
                    <a:pt x="289" y="1105"/>
                  </a:cubicBezTo>
                  <a:lnTo>
                    <a:pt x="363" y="1105"/>
                  </a:lnTo>
                  <a:lnTo>
                    <a:pt x="363" y="1250"/>
                  </a:lnTo>
                  <a:lnTo>
                    <a:pt x="869" y="1250"/>
                  </a:lnTo>
                  <a:lnTo>
                    <a:pt x="869" y="847"/>
                  </a:lnTo>
                  <a:cubicBezTo>
                    <a:pt x="980" y="761"/>
                    <a:pt x="1051" y="626"/>
                    <a:pt x="1051" y="474"/>
                  </a:cubicBezTo>
                  <a:cubicBezTo>
                    <a:pt x="1051" y="212"/>
                    <a:pt x="838" y="0"/>
                    <a:pt x="576" y="0"/>
                  </a:cubicBezTo>
                  <a:close/>
                  <a:moveTo>
                    <a:pt x="218" y="577"/>
                  </a:moveTo>
                  <a:cubicBezTo>
                    <a:pt x="189" y="577"/>
                    <a:pt x="166" y="553"/>
                    <a:pt x="166" y="524"/>
                  </a:cubicBezTo>
                  <a:cubicBezTo>
                    <a:pt x="166" y="495"/>
                    <a:pt x="189" y="471"/>
                    <a:pt x="218" y="471"/>
                  </a:cubicBezTo>
                  <a:cubicBezTo>
                    <a:pt x="248" y="471"/>
                    <a:pt x="272" y="495"/>
                    <a:pt x="272" y="524"/>
                  </a:cubicBezTo>
                  <a:cubicBezTo>
                    <a:pt x="272" y="553"/>
                    <a:pt x="248" y="577"/>
                    <a:pt x="218" y="577"/>
                  </a:cubicBezTo>
                  <a:close/>
                  <a:moveTo>
                    <a:pt x="918" y="505"/>
                  </a:moveTo>
                  <a:lnTo>
                    <a:pt x="869" y="555"/>
                  </a:lnTo>
                  <a:lnTo>
                    <a:pt x="809" y="512"/>
                  </a:lnTo>
                  <a:cubicBezTo>
                    <a:pt x="797" y="518"/>
                    <a:pt x="785" y="523"/>
                    <a:pt x="772" y="526"/>
                  </a:cubicBezTo>
                  <a:lnTo>
                    <a:pt x="761" y="592"/>
                  </a:lnTo>
                  <a:lnTo>
                    <a:pt x="784" y="592"/>
                  </a:lnTo>
                  <a:lnTo>
                    <a:pt x="790" y="627"/>
                  </a:lnTo>
                  <a:cubicBezTo>
                    <a:pt x="793" y="627"/>
                    <a:pt x="795" y="628"/>
                    <a:pt x="798" y="629"/>
                  </a:cubicBezTo>
                  <a:cubicBezTo>
                    <a:pt x="804" y="631"/>
                    <a:pt x="810" y="634"/>
                    <a:pt x="815" y="637"/>
                  </a:cubicBezTo>
                  <a:lnTo>
                    <a:pt x="843" y="618"/>
                  </a:lnTo>
                  <a:lnTo>
                    <a:pt x="865" y="641"/>
                  </a:lnTo>
                  <a:lnTo>
                    <a:pt x="845" y="670"/>
                  </a:lnTo>
                  <a:cubicBezTo>
                    <a:pt x="849" y="677"/>
                    <a:pt x="853" y="686"/>
                    <a:pt x="855" y="694"/>
                  </a:cubicBezTo>
                  <a:lnTo>
                    <a:pt x="888" y="700"/>
                  </a:lnTo>
                  <a:lnTo>
                    <a:pt x="888" y="732"/>
                  </a:lnTo>
                  <a:lnTo>
                    <a:pt x="853" y="738"/>
                  </a:lnTo>
                  <a:cubicBezTo>
                    <a:pt x="853" y="741"/>
                    <a:pt x="852" y="743"/>
                    <a:pt x="851" y="746"/>
                  </a:cubicBezTo>
                  <a:cubicBezTo>
                    <a:pt x="849" y="752"/>
                    <a:pt x="846" y="758"/>
                    <a:pt x="843" y="763"/>
                  </a:cubicBezTo>
                  <a:lnTo>
                    <a:pt x="862" y="791"/>
                  </a:lnTo>
                  <a:lnTo>
                    <a:pt x="840" y="813"/>
                  </a:lnTo>
                  <a:lnTo>
                    <a:pt x="811" y="793"/>
                  </a:lnTo>
                  <a:cubicBezTo>
                    <a:pt x="803" y="797"/>
                    <a:pt x="795" y="801"/>
                    <a:pt x="786" y="803"/>
                  </a:cubicBezTo>
                  <a:lnTo>
                    <a:pt x="780" y="836"/>
                  </a:lnTo>
                  <a:lnTo>
                    <a:pt x="748" y="836"/>
                  </a:lnTo>
                  <a:lnTo>
                    <a:pt x="742" y="801"/>
                  </a:lnTo>
                  <a:cubicBezTo>
                    <a:pt x="739" y="801"/>
                    <a:pt x="737" y="800"/>
                    <a:pt x="734" y="799"/>
                  </a:cubicBezTo>
                  <a:cubicBezTo>
                    <a:pt x="728" y="797"/>
                    <a:pt x="723" y="794"/>
                    <a:pt x="717" y="791"/>
                  </a:cubicBezTo>
                  <a:lnTo>
                    <a:pt x="689" y="810"/>
                  </a:lnTo>
                  <a:lnTo>
                    <a:pt x="667" y="788"/>
                  </a:lnTo>
                  <a:lnTo>
                    <a:pt x="687" y="759"/>
                  </a:lnTo>
                  <a:cubicBezTo>
                    <a:pt x="683" y="751"/>
                    <a:pt x="679" y="743"/>
                    <a:pt x="677" y="734"/>
                  </a:cubicBezTo>
                  <a:lnTo>
                    <a:pt x="644" y="728"/>
                  </a:lnTo>
                  <a:lnTo>
                    <a:pt x="644" y="696"/>
                  </a:lnTo>
                  <a:lnTo>
                    <a:pt x="679" y="690"/>
                  </a:lnTo>
                  <a:cubicBezTo>
                    <a:pt x="680" y="687"/>
                    <a:pt x="680" y="685"/>
                    <a:pt x="681" y="682"/>
                  </a:cubicBezTo>
                  <a:cubicBezTo>
                    <a:pt x="683" y="676"/>
                    <a:pt x="686" y="671"/>
                    <a:pt x="689" y="665"/>
                  </a:cubicBezTo>
                  <a:lnTo>
                    <a:pt x="670" y="637"/>
                  </a:lnTo>
                  <a:lnTo>
                    <a:pt x="693" y="615"/>
                  </a:lnTo>
                  <a:lnTo>
                    <a:pt x="722" y="635"/>
                  </a:lnTo>
                  <a:cubicBezTo>
                    <a:pt x="729" y="631"/>
                    <a:pt x="738" y="627"/>
                    <a:pt x="746" y="625"/>
                  </a:cubicBezTo>
                  <a:lnTo>
                    <a:pt x="751" y="596"/>
                  </a:lnTo>
                  <a:lnTo>
                    <a:pt x="691" y="596"/>
                  </a:lnTo>
                  <a:lnTo>
                    <a:pt x="678" y="524"/>
                  </a:lnTo>
                  <a:cubicBezTo>
                    <a:pt x="675" y="523"/>
                    <a:pt x="673" y="522"/>
                    <a:pt x="670" y="521"/>
                  </a:cubicBezTo>
                  <a:cubicBezTo>
                    <a:pt x="660" y="518"/>
                    <a:pt x="651" y="513"/>
                    <a:pt x="642" y="508"/>
                  </a:cubicBezTo>
                  <a:lnTo>
                    <a:pt x="584" y="549"/>
                  </a:lnTo>
                  <a:lnTo>
                    <a:pt x="535" y="500"/>
                  </a:lnTo>
                  <a:lnTo>
                    <a:pt x="578" y="440"/>
                  </a:lnTo>
                  <a:cubicBezTo>
                    <a:pt x="571" y="428"/>
                    <a:pt x="567" y="416"/>
                    <a:pt x="563" y="403"/>
                  </a:cubicBezTo>
                  <a:lnTo>
                    <a:pt x="494" y="391"/>
                  </a:lnTo>
                  <a:lnTo>
                    <a:pt x="494" y="334"/>
                  </a:lnTo>
                  <a:lnTo>
                    <a:pt x="458" y="340"/>
                  </a:lnTo>
                  <a:cubicBezTo>
                    <a:pt x="458" y="341"/>
                    <a:pt x="458" y="343"/>
                    <a:pt x="457" y="345"/>
                  </a:cubicBezTo>
                  <a:cubicBezTo>
                    <a:pt x="455" y="351"/>
                    <a:pt x="452" y="357"/>
                    <a:pt x="449" y="362"/>
                  </a:cubicBezTo>
                  <a:lnTo>
                    <a:pt x="475" y="400"/>
                  </a:lnTo>
                  <a:lnTo>
                    <a:pt x="443" y="433"/>
                  </a:lnTo>
                  <a:lnTo>
                    <a:pt x="403" y="405"/>
                  </a:lnTo>
                  <a:cubicBezTo>
                    <a:pt x="396" y="409"/>
                    <a:pt x="389" y="412"/>
                    <a:pt x="381" y="414"/>
                  </a:cubicBezTo>
                  <a:lnTo>
                    <a:pt x="373" y="460"/>
                  </a:lnTo>
                  <a:lnTo>
                    <a:pt x="327" y="460"/>
                  </a:lnTo>
                  <a:lnTo>
                    <a:pt x="319" y="412"/>
                  </a:lnTo>
                  <a:cubicBezTo>
                    <a:pt x="317" y="411"/>
                    <a:pt x="315" y="411"/>
                    <a:pt x="314" y="411"/>
                  </a:cubicBezTo>
                  <a:cubicBezTo>
                    <a:pt x="308" y="408"/>
                    <a:pt x="302" y="405"/>
                    <a:pt x="296" y="402"/>
                  </a:cubicBezTo>
                  <a:lnTo>
                    <a:pt x="258" y="429"/>
                  </a:lnTo>
                  <a:lnTo>
                    <a:pt x="226" y="397"/>
                  </a:lnTo>
                  <a:lnTo>
                    <a:pt x="254" y="357"/>
                  </a:lnTo>
                  <a:cubicBezTo>
                    <a:pt x="250" y="350"/>
                    <a:pt x="247" y="342"/>
                    <a:pt x="245" y="334"/>
                  </a:cubicBezTo>
                  <a:lnTo>
                    <a:pt x="199" y="326"/>
                  </a:lnTo>
                  <a:lnTo>
                    <a:pt x="199" y="280"/>
                  </a:lnTo>
                  <a:lnTo>
                    <a:pt x="246" y="272"/>
                  </a:lnTo>
                  <a:cubicBezTo>
                    <a:pt x="247" y="271"/>
                    <a:pt x="247" y="269"/>
                    <a:pt x="248" y="267"/>
                  </a:cubicBezTo>
                  <a:cubicBezTo>
                    <a:pt x="250" y="261"/>
                    <a:pt x="253" y="255"/>
                    <a:pt x="256" y="250"/>
                  </a:cubicBezTo>
                  <a:lnTo>
                    <a:pt x="229" y="212"/>
                  </a:lnTo>
                  <a:lnTo>
                    <a:pt x="262" y="179"/>
                  </a:lnTo>
                  <a:lnTo>
                    <a:pt x="301" y="207"/>
                  </a:lnTo>
                  <a:cubicBezTo>
                    <a:pt x="309" y="203"/>
                    <a:pt x="316" y="200"/>
                    <a:pt x="324" y="198"/>
                  </a:cubicBezTo>
                  <a:lnTo>
                    <a:pt x="332" y="152"/>
                  </a:lnTo>
                  <a:lnTo>
                    <a:pt x="378" y="152"/>
                  </a:lnTo>
                  <a:lnTo>
                    <a:pt x="386" y="200"/>
                  </a:lnTo>
                  <a:cubicBezTo>
                    <a:pt x="388" y="201"/>
                    <a:pt x="390" y="201"/>
                    <a:pt x="391" y="201"/>
                  </a:cubicBezTo>
                  <a:cubicBezTo>
                    <a:pt x="397" y="204"/>
                    <a:pt x="403" y="207"/>
                    <a:pt x="409" y="210"/>
                  </a:cubicBezTo>
                  <a:lnTo>
                    <a:pt x="447" y="183"/>
                  </a:lnTo>
                  <a:lnTo>
                    <a:pt x="479" y="215"/>
                  </a:lnTo>
                  <a:lnTo>
                    <a:pt x="451" y="255"/>
                  </a:lnTo>
                  <a:cubicBezTo>
                    <a:pt x="455" y="262"/>
                    <a:pt x="458" y="270"/>
                    <a:pt x="460" y="278"/>
                  </a:cubicBezTo>
                  <a:lnTo>
                    <a:pt x="506" y="286"/>
                  </a:lnTo>
                  <a:lnTo>
                    <a:pt x="506" y="319"/>
                  </a:lnTo>
                  <a:lnTo>
                    <a:pt x="566" y="309"/>
                  </a:lnTo>
                  <a:cubicBezTo>
                    <a:pt x="567" y="306"/>
                    <a:pt x="568" y="303"/>
                    <a:pt x="569" y="301"/>
                  </a:cubicBezTo>
                  <a:cubicBezTo>
                    <a:pt x="572" y="291"/>
                    <a:pt x="577" y="282"/>
                    <a:pt x="582" y="273"/>
                  </a:cubicBezTo>
                  <a:lnTo>
                    <a:pt x="541" y="215"/>
                  </a:lnTo>
                  <a:lnTo>
                    <a:pt x="590" y="166"/>
                  </a:lnTo>
                  <a:lnTo>
                    <a:pt x="650" y="208"/>
                  </a:lnTo>
                  <a:cubicBezTo>
                    <a:pt x="662" y="202"/>
                    <a:pt x="674" y="197"/>
                    <a:pt x="687" y="194"/>
                  </a:cubicBezTo>
                  <a:lnTo>
                    <a:pt x="699" y="124"/>
                  </a:lnTo>
                  <a:lnTo>
                    <a:pt x="769" y="124"/>
                  </a:lnTo>
                  <a:lnTo>
                    <a:pt x="781" y="197"/>
                  </a:lnTo>
                  <a:cubicBezTo>
                    <a:pt x="784" y="197"/>
                    <a:pt x="787" y="198"/>
                    <a:pt x="789" y="199"/>
                  </a:cubicBezTo>
                  <a:cubicBezTo>
                    <a:pt x="799" y="203"/>
                    <a:pt x="808" y="207"/>
                    <a:pt x="817" y="212"/>
                  </a:cubicBezTo>
                  <a:lnTo>
                    <a:pt x="875" y="171"/>
                  </a:lnTo>
                  <a:lnTo>
                    <a:pt x="924" y="221"/>
                  </a:lnTo>
                  <a:lnTo>
                    <a:pt x="882" y="281"/>
                  </a:lnTo>
                  <a:cubicBezTo>
                    <a:pt x="888" y="292"/>
                    <a:pt x="893" y="305"/>
                    <a:pt x="896" y="317"/>
                  </a:cubicBezTo>
                  <a:lnTo>
                    <a:pt x="966" y="329"/>
                  </a:lnTo>
                  <a:lnTo>
                    <a:pt x="966" y="399"/>
                  </a:lnTo>
                  <a:lnTo>
                    <a:pt x="893" y="412"/>
                  </a:lnTo>
                  <a:cubicBezTo>
                    <a:pt x="892" y="414"/>
                    <a:pt x="892" y="417"/>
                    <a:pt x="891" y="420"/>
                  </a:cubicBezTo>
                  <a:cubicBezTo>
                    <a:pt x="887" y="430"/>
                    <a:pt x="882" y="439"/>
                    <a:pt x="877" y="447"/>
                  </a:cubicBezTo>
                  <a:lnTo>
                    <a:pt x="918" y="5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" name="Money_bag2">
            <a:extLst>
              <a:ext uri="{FF2B5EF4-FFF2-40B4-BE49-F238E27FC236}">
                <a16:creationId xmlns:a16="http://schemas.microsoft.com/office/drawing/2014/main" id="{B21B337C-7B3E-4FF1-87DB-4C54C3F1931A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320139" y="6129494"/>
            <a:ext cx="199622" cy="265733"/>
          </a:xfrm>
          <a:custGeom>
            <a:avLst/>
            <a:gdLst>
              <a:gd name="T0" fmla="*/ 2068 w 4850"/>
              <a:gd name="T1" fmla="*/ 3435 h 6444"/>
              <a:gd name="T2" fmla="*/ 2111 w 4850"/>
              <a:gd name="T3" fmla="*/ 3711 h 6444"/>
              <a:gd name="T4" fmla="*/ 2329 w 4850"/>
              <a:gd name="T5" fmla="*/ 3288 h 6444"/>
              <a:gd name="T6" fmla="*/ 2133 w 4850"/>
              <a:gd name="T7" fmla="*/ 3352 h 6444"/>
              <a:gd name="T8" fmla="*/ 2515 w 4850"/>
              <a:gd name="T9" fmla="*/ 4305 h 6444"/>
              <a:gd name="T10" fmla="*/ 2633 w 4850"/>
              <a:gd name="T11" fmla="*/ 4885 h 6444"/>
              <a:gd name="T12" fmla="*/ 2825 w 4850"/>
              <a:gd name="T13" fmla="*/ 4733 h 6444"/>
              <a:gd name="T14" fmla="*/ 2779 w 4850"/>
              <a:gd name="T15" fmla="*/ 4417 h 6444"/>
              <a:gd name="T16" fmla="*/ 3416 w 4850"/>
              <a:gd name="T17" fmla="*/ 2021 h 6444"/>
              <a:gd name="T18" fmla="*/ 3232 w 4850"/>
              <a:gd name="T19" fmla="*/ 1774 h 6444"/>
              <a:gd name="T20" fmla="*/ 3208 w 4850"/>
              <a:gd name="T21" fmla="*/ 1256 h 6444"/>
              <a:gd name="T22" fmla="*/ 3021 w 4850"/>
              <a:gd name="T23" fmla="*/ 233 h 6444"/>
              <a:gd name="T24" fmla="*/ 1776 w 4850"/>
              <a:gd name="T25" fmla="*/ 0 h 6444"/>
              <a:gd name="T26" fmla="*/ 1313 w 4850"/>
              <a:gd name="T27" fmla="*/ 469 h 6444"/>
              <a:gd name="T28" fmla="*/ 1641 w 4850"/>
              <a:gd name="T29" fmla="*/ 1256 h 6444"/>
              <a:gd name="T30" fmla="*/ 0 w 4850"/>
              <a:gd name="T31" fmla="*/ 5105 h 6444"/>
              <a:gd name="T32" fmla="*/ 4850 w 4850"/>
              <a:gd name="T33" fmla="*/ 5105 h 6444"/>
              <a:gd name="T34" fmla="*/ 2099 w 4850"/>
              <a:gd name="T35" fmla="*/ 1363 h 6444"/>
              <a:gd name="T36" fmla="*/ 2761 w 4850"/>
              <a:gd name="T37" fmla="*/ 1781 h 6444"/>
              <a:gd name="T38" fmla="*/ 2099 w 4850"/>
              <a:gd name="T39" fmla="*/ 1363 h 6444"/>
              <a:gd name="T40" fmla="*/ 3145 w 4850"/>
              <a:gd name="T41" fmla="*/ 5003 h 6444"/>
              <a:gd name="T42" fmla="*/ 2515 w 4850"/>
              <a:gd name="T43" fmla="*/ 5278 h 6444"/>
              <a:gd name="T44" fmla="*/ 2329 w 4850"/>
              <a:gd name="T45" fmla="*/ 5547 h 6444"/>
              <a:gd name="T46" fmla="*/ 1776 w 4850"/>
              <a:gd name="T47" fmla="*/ 5060 h 6444"/>
              <a:gd name="T48" fmla="*/ 1990 w 4850"/>
              <a:gd name="T49" fmla="*/ 4494 h 6444"/>
              <a:gd name="T50" fmla="*/ 2329 w 4850"/>
              <a:gd name="T51" fmla="*/ 4911 h 6444"/>
              <a:gd name="T52" fmla="*/ 2286 w 4850"/>
              <a:gd name="T53" fmla="*/ 4237 h 6444"/>
              <a:gd name="T54" fmla="*/ 1997 w 4850"/>
              <a:gd name="T55" fmla="*/ 4149 h 6444"/>
              <a:gd name="T56" fmla="*/ 1649 w 4850"/>
              <a:gd name="T57" fmla="*/ 3858 h 6444"/>
              <a:gd name="T58" fmla="*/ 1657 w 4850"/>
              <a:gd name="T59" fmla="*/ 3310 h 6444"/>
              <a:gd name="T60" fmla="*/ 2054 w 4850"/>
              <a:gd name="T61" fmla="*/ 2973 h 6444"/>
              <a:gd name="T62" fmla="*/ 2329 w 4850"/>
              <a:gd name="T63" fmla="*/ 2675 h 6444"/>
              <a:gd name="T64" fmla="*/ 2515 w 4850"/>
              <a:gd name="T65" fmla="*/ 2918 h 6444"/>
              <a:gd name="T66" fmla="*/ 3002 w 4850"/>
              <a:gd name="T67" fmla="*/ 3106 h 6444"/>
              <a:gd name="T68" fmla="*/ 3226 w 4850"/>
              <a:gd name="T69" fmla="*/ 3591 h 6444"/>
              <a:gd name="T70" fmla="*/ 2698 w 4850"/>
              <a:gd name="T71" fmla="*/ 3376 h 6444"/>
              <a:gd name="T72" fmla="*/ 2515 w 4850"/>
              <a:gd name="T73" fmla="*/ 3847 h 6444"/>
              <a:gd name="T74" fmla="*/ 2676 w 4850"/>
              <a:gd name="T75" fmla="*/ 3888 h 6444"/>
              <a:gd name="T76" fmla="*/ 3223 w 4850"/>
              <a:gd name="T77" fmla="*/ 4239 h 6444"/>
              <a:gd name="T78" fmla="*/ 3305 w 4850"/>
              <a:gd name="T79" fmla="*/ 4621 h 6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850" h="6444">
                <a:moveTo>
                  <a:pt x="2133" y="3352"/>
                </a:moveTo>
                <a:cubicBezTo>
                  <a:pt x="2105" y="3374"/>
                  <a:pt x="2084" y="3402"/>
                  <a:pt x="2068" y="3435"/>
                </a:cubicBezTo>
                <a:cubicBezTo>
                  <a:pt x="2052" y="3467"/>
                  <a:pt x="2044" y="3506"/>
                  <a:pt x="2044" y="3550"/>
                </a:cubicBezTo>
                <a:cubicBezTo>
                  <a:pt x="2044" y="3619"/>
                  <a:pt x="2066" y="3673"/>
                  <a:pt x="2111" y="3711"/>
                </a:cubicBezTo>
                <a:cubicBezTo>
                  <a:pt x="2155" y="3749"/>
                  <a:pt x="2228" y="3780"/>
                  <a:pt x="2329" y="3803"/>
                </a:cubicBezTo>
                <a:lnTo>
                  <a:pt x="2329" y="3288"/>
                </a:lnTo>
                <a:cubicBezTo>
                  <a:pt x="2293" y="3288"/>
                  <a:pt x="2258" y="3293"/>
                  <a:pt x="2224" y="3303"/>
                </a:cubicBezTo>
                <a:cubicBezTo>
                  <a:pt x="2191" y="3314"/>
                  <a:pt x="2160" y="3330"/>
                  <a:pt x="2133" y="3352"/>
                </a:cubicBezTo>
                <a:close/>
                <a:moveTo>
                  <a:pt x="2779" y="4417"/>
                </a:moveTo>
                <a:cubicBezTo>
                  <a:pt x="2727" y="4376"/>
                  <a:pt x="2639" y="4339"/>
                  <a:pt x="2515" y="4305"/>
                </a:cubicBezTo>
                <a:lnTo>
                  <a:pt x="2515" y="4911"/>
                </a:lnTo>
                <a:cubicBezTo>
                  <a:pt x="2553" y="4908"/>
                  <a:pt x="2593" y="4898"/>
                  <a:pt x="2633" y="4885"/>
                </a:cubicBezTo>
                <a:cubicBezTo>
                  <a:pt x="2675" y="4871"/>
                  <a:pt x="2711" y="4852"/>
                  <a:pt x="2744" y="4826"/>
                </a:cubicBezTo>
                <a:cubicBezTo>
                  <a:pt x="2777" y="4801"/>
                  <a:pt x="2803" y="4770"/>
                  <a:pt x="2825" y="4733"/>
                </a:cubicBezTo>
                <a:cubicBezTo>
                  <a:pt x="2846" y="4696"/>
                  <a:pt x="2856" y="4653"/>
                  <a:pt x="2856" y="4602"/>
                </a:cubicBezTo>
                <a:cubicBezTo>
                  <a:pt x="2856" y="4520"/>
                  <a:pt x="2830" y="4458"/>
                  <a:pt x="2779" y="4417"/>
                </a:cubicBezTo>
                <a:close/>
                <a:moveTo>
                  <a:pt x="3415" y="2020"/>
                </a:moveTo>
                <a:lnTo>
                  <a:pt x="3416" y="2021"/>
                </a:lnTo>
                <a:cubicBezTo>
                  <a:pt x="3414" y="2019"/>
                  <a:pt x="3413" y="2018"/>
                  <a:pt x="3412" y="2016"/>
                </a:cubicBezTo>
                <a:cubicBezTo>
                  <a:pt x="3351" y="1932"/>
                  <a:pt x="3291" y="1851"/>
                  <a:pt x="3232" y="1774"/>
                </a:cubicBezTo>
                <a:cubicBezTo>
                  <a:pt x="3154" y="1644"/>
                  <a:pt x="3113" y="1485"/>
                  <a:pt x="3208" y="1256"/>
                </a:cubicBezTo>
                <a:lnTo>
                  <a:pt x="3208" y="1256"/>
                </a:lnTo>
                <a:lnTo>
                  <a:pt x="3537" y="469"/>
                </a:lnTo>
                <a:lnTo>
                  <a:pt x="3021" y="233"/>
                </a:lnTo>
                <a:lnTo>
                  <a:pt x="3074" y="0"/>
                </a:lnTo>
                <a:lnTo>
                  <a:pt x="1776" y="0"/>
                </a:lnTo>
                <a:lnTo>
                  <a:pt x="1844" y="297"/>
                </a:lnTo>
                <a:lnTo>
                  <a:pt x="1313" y="469"/>
                </a:lnTo>
                <a:lnTo>
                  <a:pt x="1641" y="1256"/>
                </a:lnTo>
                <a:lnTo>
                  <a:pt x="1641" y="1256"/>
                </a:lnTo>
                <a:cubicBezTo>
                  <a:pt x="1804" y="1646"/>
                  <a:pt x="1571" y="1831"/>
                  <a:pt x="1434" y="2021"/>
                </a:cubicBezTo>
                <a:cubicBezTo>
                  <a:pt x="757" y="2957"/>
                  <a:pt x="0" y="4297"/>
                  <a:pt x="0" y="5105"/>
                </a:cubicBezTo>
                <a:cubicBezTo>
                  <a:pt x="0" y="6444"/>
                  <a:pt x="1040" y="6400"/>
                  <a:pt x="2425" y="6400"/>
                </a:cubicBezTo>
                <a:cubicBezTo>
                  <a:pt x="3810" y="6400"/>
                  <a:pt x="4850" y="6444"/>
                  <a:pt x="4850" y="5105"/>
                </a:cubicBezTo>
                <a:cubicBezTo>
                  <a:pt x="4850" y="4297"/>
                  <a:pt x="4092" y="2957"/>
                  <a:pt x="3415" y="2020"/>
                </a:cubicBezTo>
                <a:close/>
                <a:moveTo>
                  <a:pt x="2099" y="1363"/>
                </a:moveTo>
                <a:lnTo>
                  <a:pt x="2761" y="1363"/>
                </a:lnTo>
                <a:lnTo>
                  <a:pt x="2761" y="1781"/>
                </a:lnTo>
                <a:lnTo>
                  <a:pt x="2099" y="1781"/>
                </a:lnTo>
                <a:lnTo>
                  <a:pt x="2099" y="1363"/>
                </a:lnTo>
                <a:close/>
                <a:moveTo>
                  <a:pt x="3270" y="4796"/>
                </a:moveTo>
                <a:cubicBezTo>
                  <a:pt x="3247" y="4867"/>
                  <a:pt x="3205" y="4936"/>
                  <a:pt x="3145" y="5003"/>
                </a:cubicBezTo>
                <a:cubicBezTo>
                  <a:pt x="3085" y="5071"/>
                  <a:pt x="3005" y="5131"/>
                  <a:pt x="2904" y="5183"/>
                </a:cubicBezTo>
                <a:cubicBezTo>
                  <a:pt x="2802" y="5236"/>
                  <a:pt x="2673" y="5268"/>
                  <a:pt x="2515" y="5278"/>
                </a:cubicBezTo>
                <a:lnTo>
                  <a:pt x="2515" y="5547"/>
                </a:lnTo>
                <a:lnTo>
                  <a:pt x="2329" y="5547"/>
                </a:lnTo>
                <a:lnTo>
                  <a:pt x="2329" y="5278"/>
                </a:lnTo>
                <a:cubicBezTo>
                  <a:pt x="2093" y="5261"/>
                  <a:pt x="1908" y="5189"/>
                  <a:pt x="1776" y="5060"/>
                </a:cubicBezTo>
                <a:cubicBezTo>
                  <a:pt x="1643" y="4932"/>
                  <a:pt x="1566" y="4743"/>
                  <a:pt x="1545" y="4494"/>
                </a:cubicBezTo>
                <a:lnTo>
                  <a:pt x="1990" y="4494"/>
                </a:lnTo>
                <a:cubicBezTo>
                  <a:pt x="1989" y="4615"/>
                  <a:pt x="2020" y="4709"/>
                  <a:pt x="2085" y="4779"/>
                </a:cubicBezTo>
                <a:cubicBezTo>
                  <a:pt x="2151" y="4848"/>
                  <a:pt x="2232" y="4893"/>
                  <a:pt x="2329" y="4911"/>
                </a:cubicBezTo>
                <a:lnTo>
                  <a:pt x="2329" y="4251"/>
                </a:lnTo>
                <a:cubicBezTo>
                  <a:pt x="2318" y="4247"/>
                  <a:pt x="2304" y="4242"/>
                  <a:pt x="2286" y="4237"/>
                </a:cubicBezTo>
                <a:cubicBezTo>
                  <a:pt x="2268" y="4232"/>
                  <a:pt x="2248" y="4227"/>
                  <a:pt x="2228" y="4223"/>
                </a:cubicBezTo>
                <a:cubicBezTo>
                  <a:pt x="2150" y="4202"/>
                  <a:pt x="2073" y="4177"/>
                  <a:pt x="1997" y="4149"/>
                </a:cubicBezTo>
                <a:cubicBezTo>
                  <a:pt x="1921" y="4120"/>
                  <a:pt x="1853" y="4082"/>
                  <a:pt x="1793" y="4035"/>
                </a:cubicBezTo>
                <a:cubicBezTo>
                  <a:pt x="1733" y="3988"/>
                  <a:pt x="1685" y="3928"/>
                  <a:pt x="1649" y="3858"/>
                </a:cubicBezTo>
                <a:cubicBezTo>
                  <a:pt x="1613" y="3787"/>
                  <a:pt x="1596" y="3699"/>
                  <a:pt x="1596" y="3594"/>
                </a:cubicBezTo>
                <a:cubicBezTo>
                  <a:pt x="1596" y="3487"/>
                  <a:pt x="1616" y="3392"/>
                  <a:pt x="1657" y="3310"/>
                </a:cubicBezTo>
                <a:cubicBezTo>
                  <a:pt x="1698" y="3228"/>
                  <a:pt x="1752" y="3159"/>
                  <a:pt x="1820" y="3103"/>
                </a:cubicBezTo>
                <a:cubicBezTo>
                  <a:pt x="1887" y="3047"/>
                  <a:pt x="1965" y="3004"/>
                  <a:pt x="2054" y="2973"/>
                </a:cubicBezTo>
                <a:cubicBezTo>
                  <a:pt x="2142" y="2943"/>
                  <a:pt x="2234" y="2924"/>
                  <a:pt x="2329" y="2918"/>
                </a:cubicBezTo>
                <a:lnTo>
                  <a:pt x="2329" y="2675"/>
                </a:lnTo>
                <a:lnTo>
                  <a:pt x="2515" y="2675"/>
                </a:lnTo>
                <a:lnTo>
                  <a:pt x="2515" y="2918"/>
                </a:lnTo>
                <a:cubicBezTo>
                  <a:pt x="2610" y="2929"/>
                  <a:pt x="2699" y="2949"/>
                  <a:pt x="2782" y="2980"/>
                </a:cubicBezTo>
                <a:cubicBezTo>
                  <a:pt x="2865" y="3010"/>
                  <a:pt x="2938" y="3052"/>
                  <a:pt x="3002" y="3106"/>
                </a:cubicBezTo>
                <a:cubicBezTo>
                  <a:pt x="3065" y="3160"/>
                  <a:pt x="3117" y="3227"/>
                  <a:pt x="3156" y="3306"/>
                </a:cubicBezTo>
                <a:cubicBezTo>
                  <a:pt x="3196" y="3387"/>
                  <a:pt x="3220" y="3482"/>
                  <a:pt x="3226" y="3591"/>
                </a:cubicBezTo>
                <a:lnTo>
                  <a:pt x="2777" y="3591"/>
                </a:lnTo>
                <a:cubicBezTo>
                  <a:pt x="2775" y="3507"/>
                  <a:pt x="2749" y="3435"/>
                  <a:pt x="2698" y="3376"/>
                </a:cubicBezTo>
                <a:cubicBezTo>
                  <a:pt x="2647" y="3317"/>
                  <a:pt x="2587" y="3288"/>
                  <a:pt x="2515" y="3288"/>
                </a:cubicBezTo>
                <a:lnTo>
                  <a:pt x="2515" y="3847"/>
                </a:lnTo>
                <a:cubicBezTo>
                  <a:pt x="2540" y="3853"/>
                  <a:pt x="2566" y="3860"/>
                  <a:pt x="2593" y="3866"/>
                </a:cubicBezTo>
                <a:cubicBezTo>
                  <a:pt x="2619" y="3872"/>
                  <a:pt x="2647" y="3879"/>
                  <a:pt x="2676" y="3888"/>
                </a:cubicBezTo>
                <a:cubicBezTo>
                  <a:pt x="2832" y="3930"/>
                  <a:pt x="2952" y="3982"/>
                  <a:pt x="3036" y="4044"/>
                </a:cubicBezTo>
                <a:cubicBezTo>
                  <a:pt x="3120" y="4106"/>
                  <a:pt x="3183" y="4171"/>
                  <a:pt x="3223" y="4239"/>
                </a:cubicBezTo>
                <a:cubicBezTo>
                  <a:pt x="3263" y="4306"/>
                  <a:pt x="3286" y="4374"/>
                  <a:pt x="3294" y="4441"/>
                </a:cubicBezTo>
                <a:cubicBezTo>
                  <a:pt x="3301" y="4508"/>
                  <a:pt x="3305" y="4568"/>
                  <a:pt x="3305" y="4621"/>
                </a:cubicBezTo>
                <a:cubicBezTo>
                  <a:pt x="3305" y="4667"/>
                  <a:pt x="3293" y="4726"/>
                  <a:pt x="3270" y="4796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4" name="Idea2">
            <a:extLst>
              <a:ext uri="{FF2B5EF4-FFF2-40B4-BE49-F238E27FC236}">
                <a16:creationId xmlns:a16="http://schemas.microsoft.com/office/drawing/2014/main" id="{4E10ED98-A0D7-4193-9969-BEEB396EAF6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88094" y="6109756"/>
            <a:ext cx="301414" cy="333198"/>
            <a:chOff x="2087986" y="1812758"/>
            <a:chExt cx="316995" cy="350423"/>
          </a:xfrm>
          <a:solidFill>
            <a:schemeClr val="bg1"/>
          </a:solidFill>
        </p:grpSpPr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7712B7C9-4F83-4B5E-BC42-DB5BEAE144FB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8C6DE17D-F054-4E37-85AF-EBA7DF12C57B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Crowdsourcing2">
              <a:extLst>
                <a:ext uri="{FF2B5EF4-FFF2-40B4-BE49-F238E27FC236}">
                  <a16:creationId xmlns:a16="http://schemas.microsoft.com/office/drawing/2014/main" id="{76B85C83-C3E4-4B5A-BB97-D83D545A964C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Crowdsourcing2">
              <a:extLst>
                <a:ext uri="{FF2B5EF4-FFF2-40B4-BE49-F238E27FC236}">
                  <a16:creationId xmlns:a16="http://schemas.microsoft.com/office/drawing/2014/main" id="{1C991D58-5877-4950-BFC1-1B9248BB30C0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Crowdsourcing2">
              <a:extLst>
                <a:ext uri="{FF2B5EF4-FFF2-40B4-BE49-F238E27FC236}">
                  <a16:creationId xmlns:a16="http://schemas.microsoft.com/office/drawing/2014/main" id="{FECAD28B-C4E4-43E1-8D0E-1F9A4B08E6A6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Crowdsourcing2">
              <a:extLst>
                <a:ext uri="{FF2B5EF4-FFF2-40B4-BE49-F238E27FC236}">
                  <a16:creationId xmlns:a16="http://schemas.microsoft.com/office/drawing/2014/main" id="{575C90E7-8DDC-499A-A72D-BDC4792EF526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Crowdsourcing2">
              <a:extLst>
                <a:ext uri="{FF2B5EF4-FFF2-40B4-BE49-F238E27FC236}">
                  <a16:creationId xmlns:a16="http://schemas.microsoft.com/office/drawing/2014/main" id="{10EE43F0-DAFE-46DC-9A67-6C93EBBC8153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Crowdsourcing2">
              <a:extLst>
                <a:ext uri="{FF2B5EF4-FFF2-40B4-BE49-F238E27FC236}">
                  <a16:creationId xmlns:a16="http://schemas.microsoft.com/office/drawing/2014/main" id="{D1205F29-44DB-467B-8706-245EBA2C41E1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" name="Clock3">
            <a:extLst>
              <a:ext uri="{FF2B5EF4-FFF2-40B4-BE49-F238E27FC236}">
                <a16:creationId xmlns:a16="http://schemas.microsoft.com/office/drawing/2014/main" id="{FD34B0A5-C722-411C-BE94-4D9B739558F7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768331" y="6125144"/>
            <a:ext cx="264884" cy="265733"/>
            <a:chOff x="86" y="86"/>
            <a:chExt cx="312" cy="313"/>
          </a:xfrm>
          <a:solidFill>
            <a:schemeClr val="bg1"/>
          </a:solidFill>
        </p:grpSpPr>
        <p:sp>
          <p:nvSpPr>
            <p:cNvPr id="24" name="Clock3">
              <a:extLst>
                <a:ext uri="{FF2B5EF4-FFF2-40B4-BE49-F238E27FC236}">
                  <a16:creationId xmlns:a16="http://schemas.microsoft.com/office/drawing/2014/main" id="{F6495A8F-9FF4-4C32-8316-5DE046789A39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auto">
            <a:xfrm>
              <a:off x="86" y="86"/>
              <a:ext cx="312" cy="313"/>
            </a:xfrm>
            <a:custGeom>
              <a:avLst/>
              <a:gdLst>
                <a:gd name="T0" fmla="*/ 200 w 400"/>
                <a:gd name="T1" fmla="*/ 50 h 400"/>
                <a:gd name="T2" fmla="*/ 350 w 400"/>
                <a:gd name="T3" fmla="*/ 200 h 400"/>
                <a:gd name="T4" fmla="*/ 200 w 400"/>
                <a:gd name="T5" fmla="*/ 350 h 400"/>
                <a:gd name="T6" fmla="*/ 50 w 400"/>
                <a:gd name="T7" fmla="*/ 200 h 400"/>
                <a:gd name="T8" fmla="*/ 200 w 400"/>
                <a:gd name="T9" fmla="*/ 50 h 400"/>
                <a:gd name="T10" fmla="*/ 200 w 400"/>
                <a:gd name="T11" fmla="*/ 0 h 400"/>
                <a:gd name="T12" fmla="*/ 0 w 400"/>
                <a:gd name="T13" fmla="*/ 200 h 400"/>
                <a:gd name="T14" fmla="*/ 200 w 400"/>
                <a:gd name="T15" fmla="*/ 400 h 400"/>
                <a:gd name="T16" fmla="*/ 400 w 400"/>
                <a:gd name="T17" fmla="*/ 200 h 400"/>
                <a:gd name="T18" fmla="*/ 200 w 400"/>
                <a:gd name="T1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400">
                  <a:moveTo>
                    <a:pt x="200" y="50"/>
                  </a:moveTo>
                  <a:cubicBezTo>
                    <a:pt x="283" y="50"/>
                    <a:pt x="350" y="117"/>
                    <a:pt x="350" y="200"/>
                  </a:cubicBezTo>
                  <a:cubicBezTo>
                    <a:pt x="350" y="283"/>
                    <a:pt x="283" y="350"/>
                    <a:pt x="200" y="350"/>
                  </a:cubicBezTo>
                  <a:cubicBezTo>
                    <a:pt x="117" y="350"/>
                    <a:pt x="50" y="283"/>
                    <a:pt x="50" y="200"/>
                  </a:cubicBezTo>
                  <a:cubicBezTo>
                    <a:pt x="50" y="117"/>
                    <a:pt x="117" y="50"/>
                    <a:pt x="200" y="50"/>
                  </a:cubicBezTo>
                  <a:close/>
                  <a:moveTo>
                    <a:pt x="200" y="0"/>
                  </a:moveTo>
                  <a:cubicBezTo>
                    <a:pt x="90" y="0"/>
                    <a:pt x="0" y="90"/>
                    <a:pt x="0" y="200"/>
                  </a:cubicBezTo>
                  <a:cubicBezTo>
                    <a:pt x="0" y="310"/>
                    <a:pt x="90" y="400"/>
                    <a:pt x="200" y="400"/>
                  </a:cubicBezTo>
                  <a:cubicBezTo>
                    <a:pt x="310" y="400"/>
                    <a:pt x="400" y="310"/>
                    <a:pt x="400" y="200"/>
                  </a:cubicBezTo>
                  <a:cubicBezTo>
                    <a:pt x="400" y="90"/>
                    <a:pt x="310" y="0"/>
                    <a:pt x="2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Clock3">
              <a:extLst>
                <a:ext uri="{FF2B5EF4-FFF2-40B4-BE49-F238E27FC236}">
                  <a16:creationId xmlns:a16="http://schemas.microsoft.com/office/drawing/2014/main" id="{F53BBE12-460E-4988-A1BE-6C01164977F7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27" y="189"/>
              <a:ext cx="96" cy="109"/>
            </a:xfrm>
            <a:custGeom>
              <a:avLst/>
              <a:gdLst>
                <a:gd name="T0" fmla="*/ 102 w 123"/>
                <a:gd name="T1" fmla="*/ 140 h 140"/>
                <a:gd name="T2" fmla="*/ 92 w 123"/>
                <a:gd name="T3" fmla="*/ 138 h 140"/>
                <a:gd name="T4" fmla="*/ 0 w 123"/>
                <a:gd name="T5" fmla="*/ 80 h 140"/>
                <a:gd name="T6" fmla="*/ 0 w 123"/>
                <a:gd name="T7" fmla="*/ 19 h 140"/>
                <a:gd name="T8" fmla="*/ 19 w 123"/>
                <a:gd name="T9" fmla="*/ 0 h 140"/>
                <a:gd name="T10" fmla="*/ 38 w 123"/>
                <a:gd name="T11" fmla="*/ 19 h 140"/>
                <a:gd name="T12" fmla="*/ 38 w 123"/>
                <a:gd name="T13" fmla="*/ 59 h 140"/>
                <a:gd name="T14" fmla="*/ 112 w 123"/>
                <a:gd name="T15" fmla="*/ 105 h 140"/>
                <a:gd name="T16" fmla="*/ 118 w 123"/>
                <a:gd name="T17" fmla="*/ 132 h 140"/>
                <a:gd name="T18" fmla="*/ 102 w 123"/>
                <a:gd name="T1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40">
                  <a:moveTo>
                    <a:pt x="102" y="140"/>
                  </a:moveTo>
                  <a:cubicBezTo>
                    <a:pt x="98" y="140"/>
                    <a:pt x="94" y="139"/>
                    <a:pt x="92" y="138"/>
                  </a:cubicBezTo>
                  <a:lnTo>
                    <a:pt x="0" y="80"/>
                  </a:lnTo>
                  <a:lnTo>
                    <a:pt x="0" y="19"/>
                  </a:lnTo>
                  <a:cubicBezTo>
                    <a:pt x="0" y="9"/>
                    <a:pt x="9" y="0"/>
                    <a:pt x="19" y="0"/>
                  </a:cubicBezTo>
                  <a:cubicBezTo>
                    <a:pt x="29" y="0"/>
                    <a:pt x="38" y="9"/>
                    <a:pt x="38" y="19"/>
                  </a:cubicBezTo>
                  <a:lnTo>
                    <a:pt x="38" y="59"/>
                  </a:lnTo>
                  <a:lnTo>
                    <a:pt x="112" y="105"/>
                  </a:lnTo>
                  <a:cubicBezTo>
                    <a:pt x="120" y="110"/>
                    <a:pt x="123" y="123"/>
                    <a:pt x="118" y="132"/>
                  </a:cubicBezTo>
                  <a:cubicBezTo>
                    <a:pt x="114" y="137"/>
                    <a:pt x="108" y="140"/>
                    <a:pt x="102" y="14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Clock3">
              <a:extLst>
                <a:ext uri="{FF2B5EF4-FFF2-40B4-BE49-F238E27FC236}">
                  <a16:creationId xmlns:a16="http://schemas.microsoft.com/office/drawing/2014/main" id="{1B20E42A-6845-4AC1-AC1C-9670BBD239F9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33" y="135"/>
              <a:ext cx="19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Clock3">
              <a:extLst>
                <a:ext uri="{FF2B5EF4-FFF2-40B4-BE49-F238E27FC236}">
                  <a16:creationId xmlns:a16="http://schemas.microsoft.com/office/drawing/2014/main" id="{0ABEAAF4-C945-4135-9E15-22AA828FD081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35" y="233"/>
              <a:ext cx="20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Clock3">
              <a:extLst>
                <a:ext uri="{FF2B5EF4-FFF2-40B4-BE49-F238E27FC236}">
                  <a16:creationId xmlns:a16="http://schemas.microsoft.com/office/drawing/2014/main" id="{C9A920C0-D3D6-421C-9C47-CDC68842CA2D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33" y="331"/>
              <a:ext cx="19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Clock3">
              <a:extLst>
                <a:ext uri="{FF2B5EF4-FFF2-40B4-BE49-F238E27FC236}">
                  <a16:creationId xmlns:a16="http://schemas.microsoft.com/office/drawing/2014/main" id="{A449FB25-2D52-4413-BDD6-90412DD6DE81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30" y="233"/>
              <a:ext cx="20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0" name="Distribution_Site">
            <a:extLst>
              <a:ext uri="{FF2B5EF4-FFF2-40B4-BE49-F238E27FC236}">
                <a16:creationId xmlns:a16="http://schemas.microsoft.com/office/drawing/2014/main" id="{4E41183C-936D-41CA-991C-ECE8D319C354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981463" y="6099399"/>
            <a:ext cx="265733" cy="265733"/>
            <a:chOff x="8" y="8"/>
            <a:chExt cx="470" cy="470"/>
          </a:xfrm>
          <a:solidFill>
            <a:schemeClr val="bg1"/>
          </a:solidFill>
        </p:grpSpPr>
        <p:sp>
          <p:nvSpPr>
            <p:cNvPr id="31" name="Distribution_Site">
              <a:extLst>
                <a:ext uri="{FF2B5EF4-FFF2-40B4-BE49-F238E27FC236}">
                  <a16:creationId xmlns:a16="http://schemas.microsoft.com/office/drawing/2014/main" id="{2C8CDE1B-E9F5-4ADA-AE81-00E8DFAF2667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" y="8"/>
              <a:ext cx="470" cy="157"/>
            </a:xfrm>
            <a:custGeom>
              <a:avLst/>
              <a:gdLst>
                <a:gd name="T0" fmla="*/ 1198 w 1250"/>
                <a:gd name="T1" fmla="*/ 416 h 416"/>
                <a:gd name="T2" fmla="*/ 625 w 1250"/>
                <a:gd name="T3" fmla="*/ 131 h 416"/>
                <a:gd name="T4" fmla="*/ 52 w 1250"/>
                <a:gd name="T5" fmla="*/ 416 h 416"/>
                <a:gd name="T6" fmla="*/ 0 w 1250"/>
                <a:gd name="T7" fmla="*/ 311 h 416"/>
                <a:gd name="T8" fmla="*/ 624 w 1250"/>
                <a:gd name="T9" fmla="*/ 1 h 416"/>
                <a:gd name="T10" fmla="*/ 624 w 1250"/>
                <a:gd name="T11" fmla="*/ 0 h 416"/>
                <a:gd name="T12" fmla="*/ 625 w 1250"/>
                <a:gd name="T13" fmla="*/ 0 h 416"/>
                <a:gd name="T14" fmla="*/ 626 w 1250"/>
                <a:gd name="T15" fmla="*/ 0 h 416"/>
                <a:gd name="T16" fmla="*/ 626 w 1250"/>
                <a:gd name="T17" fmla="*/ 1 h 416"/>
                <a:gd name="T18" fmla="*/ 1250 w 1250"/>
                <a:gd name="T19" fmla="*/ 311 h 416"/>
                <a:gd name="T20" fmla="*/ 1198 w 1250"/>
                <a:gd name="T2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0" h="416">
                  <a:moveTo>
                    <a:pt x="1198" y="416"/>
                  </a:moveTo>
                  <a:lnTo>
                    <a:pt x="625" y="131"/>
                  </a:lnTo>
                  <a:lnTo>
                    <a:pt x="52" y="416"/>
                  </a:lnTo>
                  <a:lnTo>
                    <a:pt x="0" y="311"/>
                  </a:lnTo>
                  <a:lnTo>
                    <a:pt x="624" y="1"/>
                  </a:lnTo>
                  <a:lnTo>
                    <a:pt x="624" y="0"/>
                  </a:lnTo>
                  <a:lnTo>
                    <a:pt x="625" y="0"/>
                  </a:lnTo>
                  <a:lnTo>
                    <a:pt x="626" y="0"/>
                  </a:lnTo>
                  <a:lnTo>
                    <a:pt x="626" y="1"/>
                  </a:lnTo>
                  <a:lnTo>
                    <a:pt x="1250" y="311"/>
                  </a:lnTo>
                  <a:lnTo>
                    <a:pt x="1198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Distribution_Site">
              <a:extLst>
                <a:ext uri="{FF2B5EF4-FFF2-40B4-BE49-F238E27FC236}">
                  <a16:creationId xmlns:a16="http://schemas.microsoft.com/office/drawing/2014/main" id="{B2C111FC-7887-4BB3-BC24-9FD2E4B1FEB6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33" y="340"/>
              <a:ext cx="102" cy="115"/>
            </a:xfrm>
            <a:custGeom>
              <a:avLst/>
              <a:gdLst>
                <a:gd name="T0" fmla="*/ 0 w 269"/>
                <a:gd name="T1" fmla="*/ 171 h 305"/>
                <a:gd name="T2" fmla="*/ 0 w 269"/>
                <a:gd name="T3" fmla="*/ 6 h 305"/>
                <a:gd name="T4" fmla="*/ 132 w 269"/>
                <a:gd name="T5" fmla="*/ 76 h 305"/>
                <a:gd name="T6" fmla="*/ 269 w 269"/>
                <a:gd name="T7" fmla="*/ 0 h 305"/>
                <a:gd name="T8" fmla="*/ 269 w 269"/>
                <a:gd name="T9" fmla="*/ 305 h 305"/>
                <a:gd name="T10" fmla="*/ 0 w 269"/>
                <a:gd name="T11" fmla="*/ 17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" h="305">
                  <a:moveTo>
                    <a:pt x="0" y="171"/>
                  </a:moveTo>
                  <a:lnTo>
                    <a:pt x="0" y="6"/>
                  </a:lnTo>
                  <a:lnTo>
                    <a:pt x="132" y="76"/>
                  </a:lnTo>
                  <a:lnTo>
                    <a:pt x="269" y="0"/>
                  </a:lnTo>
                  <a:lnTo>
                    <a:pt x="269" y="305"/>
                  </a:lnTo>
                  <a:lnTo>
                    <a:pt x="0" y="1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Distribution_Site">
              <a:extLst>
                <a:ext uri="{FF2B5EF4-FFF2-40B4-BE49-F238E27FC236}">
                  <a16:creationId xmlns:a16="http://schemas.microsoft.com/office/drawing/2014/main" id="{8142E9BC-C285-475C-97A7-3DA21D9A8B19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51" y="340"/>
              <a:ext cx="101" cy="115"/>
            </a:xfrm>
            <a:custGeom>
              <a:avLst/>
              <a:gdLst>
                <a:gd name="T0" fmla="*/ 268 w 268"/>
                <a:gd name="T1" fmla="*/ 171 h 304"/>
                <a:gd name="T2" fmla="*/ 0 w 268"/>
                <a:gd name="T3" fmla="*/ 304 h 304"/>
                <a:gd name="T4" fmla="*/ 0 w 268"/>
                <a:gd name="T5" fmla="*/ 0 h 304"/>
                <a:gd name="T6" fmla="*/ 137 w 268"/>
                <a:gd name="T7" fmla="*/ 76 h 304"/>
                <a:gd name="T8" fmla="*/ 268 w 268"/>
                <a:gd name="T9" fmla="*/ 6 h 304"/>
                <a:gd name="T10" fmla="*/ 268 w 268"/>
                <a:gd name="T11" fmla="*/ 17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304">
                  <a:moveTo>
                    <a:pt x="268" y="171"/>
                  </a:moveTo>
                  <a:lnTo>
                    <a:pt x="0" y="304"/>
                  </a:lnTo>
                  <a:lnTo>
                    <a:pt x="0" y="0"/>
                  </a:lnTo>
                  <a:lnTo>
                    <a:pt x="137" y="76"/>
                  </a:lnTo>
                  <a:lnTo>
                    <a:pt x="268" y="6"/>
                  </a:lnTo>
                  <a:lnTo>
                    <a:pt x="268" y="1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Distribution_Site">
              <a:extLst>
                <a:ext uri="{FF2B5EF4-FFF2-40B4-BE49-F238E27FC236}">
                  <a16:creationId xmlns:a16="http://schemas.microsoft.com/office/drawing/2014/main" id="{1CC3433A-1C78-457B-91E1-DEE37B2BD589}"/>
                </a:ext>
              </a:extLst>
            </p:cNvPr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auto">
            <a:xfrm>
              <a:off x="55" y="165"/>
              <a:ext cx="376" cy="313"/>
            </a:xfrm>
            <a:custGeom>
              <a:avLst/>
              <a:gdLst>
                <a:gd name="T0" fmla="*/ 1000 w 1000"/>
                <a:gd name="T1" fmla="*/ 184 h 833"/>
                <a:gd name="T2" fmla="*/ 964 w 1000"/>
                <a:gd name="T3" fmla="*/ 164 h 833"/>
                <a:gd name="T4" fmla="*/ 666 w 1000"/>
                <a:gd name="T5" fmla="*/ 2 h 833"/>
                <a:gd name="T6" fmla="*/ 502 w 1000"/>
                <a:gd name="T7" fmla="*/ 91 h 833"/>
                <a:gd name="T8" fmla="*/ 334 w 1000"/>
                <a:gd name="T9" fmla="*/ 0 h 833"/>
                <a:gd name="T10" fmla="*/ 0 w 1000"/>
                <a:gd name="T11" fmla="*/ 181 h 833"/>
                <a:gd name="T12" fmla="*/ 36 w 1000"/>
                <a:gd name="T13" fmla="*/ 201 h 833"/>
                <a:gd name="T14" fmla="*/ 166 w 1000"/>
                <a:gd name="T15" fmla="*/ 273 h 833"/>
                <a:gd name="T16" fmla="*/ 164 w 1000"/>
                <a:gd name="T17" fmla="*/ 274 h 833"/>
                <a:gd name="T18" fmla="*/ 164 w 1000"/>
                <a:gd name="T19" fmla="*/ 274 h 833"/>
                <a:gd name="T20" fmla="*/ 164 w 1000"/>
                <a:gd name="T21" fmla="*/ 274 h 833"/>
                <a:gd name="T22" fmla="*/ 3 w 1000"/>
                <a:gd name="T23" fmla="*/ 362 h 833"/>
                <a:gd name="T24" fmla="*/ 164 w 1000"/>
                <a:gd name="T25" fmla="*/ 448 h 833"/>
                <a:gd name="T26" fmla="*/ 164 w 1000"/>
                <a:gd name="T27" fmla="*/ 666 h 833"/>
                <a:gd name="T28" fmla="*/ 500 w 1000"/>
                <a:gd name="T29" fmla="*/ 833 h 833"/>
                <a:gd name="T30" fmla="*/ 836 w 1000"/>
                <a:gd name="T31" fmla="*/ 666 h 833"/>
                <a:gd name="T32" fmla="*/ 836 w 1000"/>
                <a:gd name="T33" fmla="*/ 449 h 833"/>
                <a:gd name="T34" fmla="*/ 998 w 1000"/>
                <a:gd name="T35" fmla="*/ 362 h 833"/>
                <a:gd name="T36" fmla="*/ 837 w 1000"/>
                <a:gd name="T37" fmla="*/ 274 h 833"/>
                <a:gd name="T38" fmla="*/ 1000 w 1000"/>
                <a:gd name="T39" fmla="*/ 184 h 833"/>
                <a:gd name="T40" fmla="*/ 93 w 1000"/>
                <a:gd name="T41" fmla="*/ 182 h 833"/>
                <a:gd name="T42" fmla="*/ 334 w 1000"/>
                <a:gd name="T43" fmla="*/ 51 h 833"/>
                <a:gd name="T44" fmla="*/ 453 w 1000"/>
                <a:gd name="T45" fmla="*/ 116 h 833"/>
                <a:gd name="T46" fmla="*/ 210 w 1000"/>
                <a:gd name="T47" fmla="*/ 246 h 833"/>
                <a:gd name="T48" fmla="*/ 93 w 1000"/>
                <a:gd name="T49" fmla="*/ 182 h 833"/>
                <a:gd name="T50" fmla="*/ 340 w 1000"/>
                <a:gd name="T51" fmla="*/ 492 h 833"/>
                <a:gd name="T52" fmla="*/ 97 w 1000"/>
                <a:gd name="T53" fmla="*/ 362 h 833"/>
                <a:gd name="T54" fmla="*/ 216 w 1000"/>
                <a:gd name="T55" fmla="*/ 297 h 833"/>
                <a:gd name="T56" fmla="*/ 459 w 1000"/>
                <a:gd name="T57" fmla="*/ 428 h 833"/>
                <a:gd name="T58" fmla="*/ 340 w 1000"/>
                <a:gd name="T59" fmla="*/ 492 h 833"/>
                <a:gd name="T60" fmla="*/ 666 w 1000"/>
                <a:gd name="T61" fmla="*/ 53 h 833"/>
                <a:gd name="T62" fmla="*/ 906 w 1000"/>
                <a:gd name="T63" fmla="*/ 184 h 833"/>
                <a:gd name="T64" fmla="*/ 790 w 1000"/>
                <a:gd name="T65" fmla="*/ 249 h 833"/>
                <a:gd name="T66" fmla="*/ 547 w 1000"/>
                <a:gd name="T67" fmla="*/ 118 h 833"/>
                <a:gd name="T68" fmla="*/ 666 w 1000"/>
                <a:gd name="T69" fmla="*/ 53 h 833"/>
                <a:gd name="T70" fmla="*/ 903 w 1000"/>
                <a:gd name="T71" fmla="*/ 362 h 833"/>
                <a:gd name="T72" fmla="*/ 660 w 1000"/>
                <a:gd name="T73" fmla="*/ 492 h 833"/>
                <a:gd name="T74" fmla="*/ 544 w 1000"/>
                <a:gd name="T75" fmla="*/ 428 h 833"/>
                <a:gd name="T76" fmla="*/ 784 w 1000"/>
                <a:gd name="T77" fmla="*/ 297 h 833"/>
                <a:gd name="T78" fmla="*/ 903 w 1000"/>
                <a:gd name="T79" fmla="*/ 362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0" h="833">
                  <a:moveTo>
                    <a:pt x="1000" y="184"/>
                  </a:moveTo>
                  <a:lnTo>
                    <a:pt x="964" y="164"/>
                  </a:lnTo>
                  <a:lnTo>
                    <a:pt x="666" y="2"/>
                  </a:lnTo>
                  <a:lnTo>
                    <a:pt x="502" y="91"/>
                  </a:lnTo>
                  <a:lnTo>
                    <a:pt x="334" y="0"/>
                  </a:lnTo>
                  <a:lnTo>
                    <a:pt x="0" y="181"/>
                  </a:lnTo>
                  <a:lnTo>
                    <a:pt x="36" y="201"/>
                  </a:lnTo>
                  <a:lnTo>
                    <a:pt x="166" y="273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3" y="362"/>
                  </a:lnTo>
                  <a:lnTo>
                    <a:pt x="164" y="448"/>
                  </a:lnTo>
                  <a:lnTo>
                    <a:pt x="164" y="666"/>
                  </a:lnTo>
                  <a:lnTo>
                    <a:pt x="500" y="833"/>
                  </a:lnTo>
                  <a:lnTo>
                    <a:pt x="836" y="666"/>
                  </a:lnTo>
                  <a:lnTo>
                    <a:pt x="836" y="449"/>
                  </a:lnTo>
                  <a:lnTo>
                    <a:pt x="998" y="362"/>
                  </a:lnTo>
                  <a:lnTo>
                    <a:pt x="837" y="274"/>
                  </a:lnTo>
                  <a:lnTo>
                    <a:pt x="1000" y="184"/>
                  </a:lnTo>
                  <a:close/>
                  <a:moveTo>
                    <a:pt x="93" y="182"/>
                  </a:moveTo>
                  <a:lnTo>
                    <a:pt x="334" y="51"/>
                  </a:lnTo>
                  <a:lnTo>
                    <a:pt x="453" y="116"/>
                  </a:lnTo>
                  <a:lnTo>
                    <a:pt x="210" y="246"/>
                  </a:lnTo>
                  <a:lnTo>
                    <a:pt x="93" y="182"/>
                  </a:lnTo>
                  <a:close/>
                  <a:moveTo>
                    <a:pt x="340" y="492"/>
                  </a:moveTo>
                  <a:lnTo>
                    <a:pt x="97" y="362"/>
                  </a:lnTo>
                  <a:lnTo>
                    <a:pt x="216" y="297"/>
                  </a:lnTo>
                  <a:lnTo>
                    <a:pt x="459" y="428"/>
                  </a:lnTo>
                  <a:lnTo>
                    <a:pt x="340" y="492"/>
                  </a:lnTo>
                  <a:close/>
                  <a:moveTo>
                    <a:pt x="666" y="53"/>
                  </a:moveTo>
                  <a:lnTo>
                    <a:pt x="906" y="184"/>
                  </a:lnTo>
                  <a:lnTo>
                    <a:pt x="790" y="249"/>
                  </a:lnTo>
                  <a:lnTo>
                    <a:pt x="547" y="118"/>
                  </a:lnTo>
                  <a:lnTo>
                    <a:pt x="666" y="53"/>
                  </a:lnTo>
                  <a:close/>
                  <a:moveTo>
                    <a:pt x="903" y="362"/>
                  </a:moveTo>
                  <a:lnTo>
                    <a:pt x="660" y="492"/>
                  </a:lnTo>
                  <a:lnTo>
                    <a:pt x="544" y="428"/>
                  </a:lnTo>
                  <a:lnTo>
                    <a:pt x="784" y="297"/>
                  </a:lnTo>
                  <a:lnTo>
                    <a:pt x="903" y="3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" name="Megaphone2">
            <a:extLst>
              <a:ext uri="{FF2B5EF4-FFF2-40B4-BE49-F238E27FC236}">
                <a16:creationId xmlns:a16="http://schemas.microsoft.com/office/drawing/2014/main" id="{C82D4010-5406-41ED-B71A-A9DCE95832EE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264634" y="6132391"/>
            <a:ext cx="257234" cy="265733"/>
            <a:chOff x="27" y="8"/>
            <a:chExt cx="454" cy="469"/>
          </a:xfrm>
          <a:solidFill>
            <a:schemeClr val="bg1"/>
          </a:solidFill>
        </p:grpSpPr>
        <p:sp>
          <p:nvSpPr>
            <p:cNvPr id="36" name="Megaphone2">
              <a:extLst>
                <a:ext uri="{FF2B5EF4-FFF2-40B4-BE49-F238E27FC236}">
                  <a16:creationId xmlns:a16="http://schemas.microsoft.com/office/drawing/2014/main" id="{32539065-35DE-4DBB-8BE4-DDBD6F144AF7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5" y="202"/>
              <a:ext cx="1" cy="0"/>
            </a:xfrm>
            <a:custGeom>
              <a:avLst/>
              <a:gdLst>
                <a:gd name="T0" fmla="*/ 3 w 3"/>
                <a:gd name="T1" fmla="*/ 0 h 1"/>
                <a:gd name="T2" fmla="*/ 1 w 3"/>
                <a:gd name="T3" fmla="*/ 0 h 1"/>
                <a:gd name="T4" fmla="*/ 0 w 3"/>
                <a:gd name="T5" fmla="*/ 1 h 1"/>
                <a:gd name="T6" fmla="*/ 3 w 3"/>
                <a:gd name="T7" fmla="*/ 0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1" y="0"/>
                  </a:ln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Megaphone2">
              <a:extLst>
                <a:ext uri="{FF2B5EF4-FFF2-40B4-BE49-F238E27FC236}">
                  <a16:creationId xmlns:a16="http://schemas.microsoft.com/office/drawing/2014/main" id="{E00A8771-111C-4898-9463-A7DC6B049C99}"/>
                </a:ext>
              </a:extLst>
            </p:cNvPr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34" y="8"/>
              <a:ext cx="447" cy="469"/>
            </a:xfrm>
            <a:custGeom>
              <a:avLst/>
              <a:gdLst>
                <a:gd name="T0" fmla="*/ 1139 w 1192"/>
                <a:gd name="T1" fmla="*/ 461 h 1248"/>
                <a:gd name="T2" fmla="*/ 881 w 1192"/>
                <a:gd name="T3" fmla="*/ 18 h 1248"/>
                <a:gd name="T4" fmla="*/ 801 w 1192"/>
                <a:gd name="T5" fmla="*/ 146 h 1248"/>
                <a:gd name="T6" fmla="*/ 219 w 1192"/>
                <a:gd name="T7" fmla="*/ 507 h 1248"/>
                <a:gd name="T8" fmla="*/ 193 w 1192"/>
                <a:gd name="T9" fmla="*/ 516 h 1248"/>
                <a:gd name="T10" fmla="*/ 203 w 1192"/>
                <a:gd name="T11" fmla="*/ 864 h 1248"/>
                <a:gd name="T12" fmla="*/ 203 w 1192"/>
                <a:gd name="T13" fmla="*/ 864 h 1248"/>
                <a:gd name="T14" fmla="*/ 208 w 1192"/>
                <a:gd name="T15" fmla="*/ 865 h 1248"/>
                <a:gd name="T16" fmla="*/ 305 w 1192"/>
                <a:gd name="T17" fmla="*/ 901 h 1248"/>
                <a:gd name="T18" fmla="*/ 370 w 1192"/>
                <a:gd name="T19" fmla="*/ 1118 h 1248"/>
                <a:gd name="T20" fmla="*/ 559 w 1192"/>
                <a:gd name="T21" fmla="*/ 1225 h 1248"/>
                <a:gd name="T22" fmla="*/ 554 w 1192"/>
                <a:gd name="T23" fmla="*/ 1178 h 1248"/>
                <a:gd name="T24" fmla="*/ 561 w 1192"/>
                <a:gd name="T25" fmla="*/ 1156 h 1248"/>
                <a:gd name="T26" fmla="*/ 533 w 1192"/>
                <a:gd name="T27" fmla="*/ 1089 h 1248"/>
                <a:gd name="T28" fmla="*/ 524 w 1192"/>
                <a:gd name="T29" fmla="*/ 1026 h 1248"/>
                <a:gd name="T30" fmla="*/ 484 w 1192"/>
                <a:gd name="T31" fmla="*/ 973 h 1248"/>
                <a:gd name="T32" fmla="*/ 485 w 1192"/>
                <a:gd name="T33" fmla="*/ 925 h 1248"/>
                <a:gd name="T34" fmla="*/ 480 w 1192"/>
                <a:gd name="T35" fmla="*/ 835 h 1248"/>
                <a:gd name="T36" fmla="*/ 1004 w 1192"/>
                <a:gd name="T37" fmla="*/ 945 h 1248"/>
                <a:gd name="T38" fmla="*/ 1023 w 1192"/>
                <a:gd name="T39" fmla="*/ 958 h 1248"/>
                <a:gd name="T40" fmla="*/ 1024 w 1192"/>
                <a:gd name="T41" fmla="*/ 959 h 1248"/>
                <a:gd name="T42" fmla="*/ 1037 w 1192"/>
                <a:gd name="T43" fmla="*/ 965 h 1248"/>
                <a:gd name="T44" fmla="*/ 1074 w 1192"/>
                <a:gd name="T45" fmla="*/ 969 h 1248"/>
                <a:gd name="T46" fmla="*/ 1139 w 1192"/>
                <a:gd name="T47" fmla="*/ 461 h 1248"/>
                <a:gd name="T48" fmla="*/ 866 w 1192"/>
                <a:gd name="T49" fmla="*/ 856 h 1248"/>
                <a:gd name="T50" fmla="*/ 751 w 1192"/>
                <a:gd name="T51" fmla="*/ 832 h 1248"/>
                <a:gd name="T52" fmla="*/ 512 w 1192"/>
                <a:gd name="T53" fmla="*/ 819 h 1248"/>
                <a:gd name="T54" fmla="*/ 433 w 1192"/>
                <a:gd name="T55" fmla="*/ 783 h 1248"/>
                <a:gd name="T56" fmla="*/ 378 w 1192"/>
                <a:gd name="T57" fmla="*/ 726 h 1248"/>
                <a:gd name="T58" fmla="*/ 370 w 1192"/>
                <a:gd name="T59" fmla="*/ 538 h 1248"/>
                <a:gd name="T60" fmla="*/ 430 w 1192"/>
                <a:gd name="T61" fmla="*/ 457 h 1248"/>
                <a:gd name="T62" fmla="*/ 550 w 1192"/>
                <a:gd name="T63" fmla="*/ 389 h 1248"/>
                <a:gd name="T64" fmla="*/ 737 w 1192"/>
                <a:gd name="T65" fmla="*/ 253 h 1248"/>
                <a:gd name="T66" fmla="*/ 809 w 1192"/>
                <a:gd name="T67" fmla="*/ 160 h 1248"/>
                <a:gd name="T68" fmla="*/ 808 w 1192"/>
                <a:gd name="T69" fmla="*/ 174 h 1248"/>
                <a:gd name="T70" fmla="*/ 808 w 1192"/>
                <a:gd name="T71" fmla="*/ 171 h 1248"/>
                <a:gd name="T72" fmla="*/ 801 w 1192"/>
                <a:gd name="T73" fmla="*/ 231 h 1248"/>
                <a:gd name="T74" fmla="*/ 929 w 1192"/>
                <a:gd name="T75" fmla="*/ 833 h 1248"/>
                <a:gd name="T76" fmla="*/ 956 w 1192"/>
                <a:gd name="T77" fmla="*/ 883 h 1248"/>
                <a:gd name="T78" fmla="*/ 954 w 1192"/>
                <a:gd name="T79" fmla="*/ 880 h 1248"/>
                <a:gd name="T80" fmla="*/ 962 w 1192"/>
                <a:gd name="T81" fmla="*/ 895 h 1248"/>
                <a:gd name="T82" fmla="*/ 866 w 1192"/>
                <a:gd name="T83" fmla="*/ 856 h 1248"/>
                <a:gd name="T84" fmla="*/ 988 w 1192"/>
                <a:gd name="T85" fmla="*/ 800 h 1248"/>
                <a:gd name="T86" fmla="*/ 978 w 1192"/>
                <a:gd name="T87" fmla="*/ 799 h 1248"/>
                <a:gd name="T88" fmla="*/ 978 w 1192"/>
                <a:gd name="T89" fmla="*/ 799 h 1248"/>
                <a:gd name="T90" fmla="*/ 847 w 1192"/>
                <a:gd name="T91" fmla="*/ 542 h 1248"/>
                <a:gd name="T92" fmla="*/ 851 w 1192"/>
                <a:gd name="T93" fmla="*/ 255 h 1248"/>
                <a:gd name="T94" fmla="*/ 861 w 1192"/>
                <a:gd name="T95" fmla="*/ 256 h 1248"/>
                <a:gd name="T96" fmla="*/ 861 w 1192"/>
                <a:gd name="T97" fmla="*/ 256 h 1248"/>
                <a:gd name="T98" fmla="*/ 992 w 1192"/>
                <a:gd name="T99" fmla="*/ 512 h 1248"/>
                <a:gd name="T100" fmla="*/ 988 w 1192"/>
                <a:gd name="T101" fmla="*/ 800 h 1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92" h="1248">
                  <a:moveTo>
                    <a:pt x="1139" y="461"/>
                  </a:moveTo>
                  <a:cubicBezTo>
                    <a:pt x="1086" y="198"/>
                    <a:pt x="971" y="0"/>
                    <a:pt x="881" y="18"/>
                  </a:cubicBezTo>
                  <a:cubicBezTo>
                    <a:pt x="843" y="25"/>
                    <a:pt x="815" y="73"/>
                    <a:pt x="801" y="146"/>
                  </a:cubicBezTo>
                  <a:cubicBezTo>
                    <a:pt x="754" y="199"/>
                    <a:pt x="564" y="396"/>
                    <a:pt x="219" y="507"/>
                  </a:cubicBezTo>
                  <a:cubicBezTo>
                    <a:pt x="211" y="510"/>
                    <a:pt x="202" y="513"/>
                    <a:pt x="193" y="516"/>
                  </a:cubicBezTo>
                  <a:cubicBezTo>
                    <a:pt x="0" y="700"/>
                    <a:pt x="203" y="864"/>
                    <a:pt x="203" y="864"/>
                  </a:cubicBezTo>
                  <a:lnTo>
                    <a:pt x="203" y="864"/>
                  </a:lnTo>
                  <a:cubicBezTo>
                    <a:pt x="205" y="864"/>
                    <a:pt x="206" y="864"/>
                    <a:pt x="208" y="865"/>
                  </a:cubicBezTo>
                  <a:cubicBezTo>
                    <a:pt x="236" y="867"/>
                    <a:pt x="291" y="871"/>
                    <a:pt x="305" y="901"/>
                  </a:cubicBezTo>
                  <a:cubicBezTo>
                    <a:pt x="305" y="901"/>
                    <a:pt x="362" y="976"/>
                    <a:pt x="370" y="1118"/>
                  </a:cubicBezTo>
                  <a:cubicBezTo>
                    <a:pt x="370" y="1118"/>
                    <a:pt x="390" y="1248"/>
                    <a:pt x="559" y="1225"/>
                  </a:cubicBezTo>
                  <a:cubicBezTo>
                    <a:pt x="559" y="1225"/>
                    <a:pt x="583" y="1193"/>
                    <a:pt x="554" y="1178"/>
                  </a:cubicBezTo>
                  <a:cubicBezTo>
                    <a:pt x="554" y="1178"/>
                    <a:pt x="545" y="1151"/>
                    <a:pt x="561" y="1156"/>
                  </a:cubicBezTo>
                  <a:cubicBezTo>
                    <a:pt x="561" y="1156"/>
                    <a:pt x="578" y="1103"/>
                    <a:pt x="533" y="1089"/>
                  </a:cubicBezTo>
                  <a:lnTo>
                    <a:pt x="524" y="1026"/>
                  </a:lnTo>
                  <a:cubicBezTo>
                    <a:pt x="524" y="1026"/>
                    <a:pt x="497" y="1004"/>
                    <a:pt x="484" y="973"/>
                  </a:cubicBezTo>
                  <a:lnTo>
                    <a:pt x="485" y="925"/>
                  </a:lnTo>
                  <a:cubicBezTo>
                    <a:pt x="485" y="925"/>
                    <a:pt x="424" y="888"/>
                    <a:pt x="480" y="835"/>
                  </a:cubicBezTo>
                  <a:cubicBezTo>
                    <a:pt x="480" y="835"/>
                    <a:pt x="826" y="828"/>
                    <a:pt x="1004" y="945"/>
                  </a:cubicBezTo>
                  <a:cubicBezTo>
                    <a:pt x="1010" y="950"/>
                    <a:pt x="1016" y="955"/>
                    <a:pt x="1023" y="958"/>
                  </a:cubicBezTo>
                  <a:cubicBezTo>
                    <a:pt x="1023" y="958"/>
                    <a:pt x="1023" y="959"/>
                    <a:pt x="1024" y="959"/>
                  </a:cubicBezTo>
                  <a:cubicBezTo>
                    <a:pt x="1028" y="962"/>
                    <a:pt x="1032" y="964"/>
                    <a:pt x="1037" y="965"/>
                  </a:cubicBezTo>
                  <a:cubicBezTo>
                    <a:pt x="1050" y="970"/>
                    <a:pt x="1062" y="972"/>
                    <a:pt x="1074" y="969"/>
                  </a:cubicBezTo>
                  <a:cubicBezTo>
                    <a:pt x="1163" y="951"/>
                    <a:pt x="1192" y="724"/>
                    <a:pt x="1139" y="461"/>
                  </a:cubicBezTo>
                  <a:close/>
                  <a:moveTo>
                    <a:pt x="866" y="856"/>
                  </a:moveTo>
                  <a:cubicBezTo>
                    <a:pt x="828" y="845"/>
                    <a:pt x="790" y="838"/>
                    <a:pt x="751" y="832"/>
                  </a:cubicBezTo>
                  <a:cubicBezTo>
                    <a:pt x="673" y="821"/>
                    <a:pt x="592" y="817"/>
                    <a:pt x="512" y="819"/>
                  </a:cubicBezTo>
                  <a:cubicBezTo>
                    <a:pt x="490" y="819"/>
                    <a:pt x="452" y="795"/>
                    <a:pt x="433" y="783"/>
                  </a:cubicBezTo>
                  <a:cubicBezTo>
                    <a:pt x="411" y="768"/>
                    <a:pt x="392" y="749"/>
                    <a:pt x="378" y="726"/>
                  </a:cubicBezTo>
                  <a:cubicBezTo>
                    <a:pt x="342" y="668"/>
                    <a:pt x="340" y="599"/>
                    <a:pt x="370" y="538"/>
                  </a:cubicBezTo>
                  <a:cubicBezTo>
                    <a:pt x="385" y="507"/>
                    <a:pt x="402" y="477"/>
                    <a:pt x="430" y="457"/>
                  </a:cubicBezTo>
                  <a:cubicBezTo>
                    <a:pt x="468" y="431"/>
                    <a:pt x="511" y="413"/>
                    <a:pt x="550" y="389"/>
                  </a:cubicBezTo>
                  <a:cubicBezTo>
                    <a:pt x="615" y="347"/>
                    <a:pt x="677" y="302"/>
                    <a:pt x="737" y="253"/>
                  </a:cubicBezTo>
                  <a:cubicBezTo>
                    <a:pt x="749" y="243"/>
                    <a:pt x="807" y="177"/>
                    <a:pt x="809" y="160"/>
                  </a:cubicBezTo>
                  <a:cubicBezTo>
                    <a:pt x="809" y="165"/>
                    <a:pt x="808" y="169"/>
                    <a:pt x="808" y="174"/>
                  </a:cubicBezTo>
                  <a:cubicBezTo>
                    <a:pt x="808" y="173"/>
                    <a:pt x="808" y="172"/>
                    <a:pt x="808" y="171"/>
                  </a:cubicBezTo>
                  <a:cubicBezTo>
                    <a:pt x="805" y="191"/>
                    <a:pt x="803" y="211"/>
                    <a:pt x="801" y="231"/>
                  </a:cubicBezTo>
                  <a:cubicBezTo>
                    <a:pt x="781" y="485"/>
                    <a:pt x="877" y="724"/>
                    <a:pt x="929" y="833"/>
                  </a:cubicBezTo>
                  <a:cubicBezTo>
                    <a:pt x="945" y="865"/>
                    <a:pt x="956" y="883"/>
                    <a:pt x="956" y="883"/>
                  </a:cubicBezTo>
                  <a:cubicBezTo>
                    <a:pt x="955" y="882"/>
                    <a:pt x="954" y="881"/>
                    <a:pt x="954" y="880"/>
                  </a:cubicBezTo>
                  <a:cubicBezTo>
                    <a:pt x="959" y="890"/>
                    <a:pt x="962" y="895"/>
                    <a:pt x="962" y="895"/>
                  </a:cubicBezTo>
                  <a:cubicBezTo>
                    <a:pt x="948" y="874"/>
                    <a:pt x="888" y="862"/>
                    <a:pt x="866" y="856"/>
                  </a:cubicBezTo>
                  <a:close/>
                  <a:moveTo>
                    <a:pt x="988" y="800"/>
                  </a:moveTo>
                  <a:cubicBezTo>
                    <a:pt x="985" y="800"/>
                    <a:pt x="982" y="800"/>
                    <a:pt x="978" y="799"/>
                  </a:cubicBezTo>
                  <a:cubicBezTo>
                    <a:pt x="978" y="799"/>
                    <a:pt x="978" y="799"/>
                    <a:pt x="978" y="799"/>
                  </a:cubicBezTo>
                  <a:cubicBezTo>
                    <a:pt x="941" y="807"/>
                    <a:pt x="883" y="693"/>
                    <a:pt x="847" y="542"/>
                  </a:cubicBezTo>
                  <a:cubicBezTo>
                    <a:pt x="812" y="392"/>
                    <a:pt x="814" y="263"/>
                    <a:pt x="851" y="255"/>
                  </a:cubicBezTo>
                  <a:cubicBezTo>
                    <a:pt x="854" y="254"/>
                    <a:pt x="857" y="255"/>
                    <a:pt x="861" y="256"/>
                  </a:cubicBezTo>
                  <a:cubicBezTo>
                    <a:pt x="861" y="256"/>
                    <a:pt x="861" y="256"/>
                    <a:pt x="861" y="256"/>
                  </a:cubicBezTo>
                  <a:cubicBezTo>
                    <a:pt x="898" y="247"/>
                    <a:pt x="956" y="362"/>
                    <a:pt x="992" y="512"/>
                  </a:cubicBezTo>
                  <a:cubicBezTo>
                    <a:pt x="1027" y="662"/>
                    <a:pt x="1025" y="791"/>
                    <a:pt x="988" y="8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Megaphone2">
              <a:extLst>
                <a:ext uri="{FF2B5EF4-FFF2-40B4-BE49-F238E27FC236}">
                  <a16:creationId xmlns:a16="http://schemas.microsoft.com/office/drawing/2014/main" id="{719A2547-DCFA-49DC-A204-E113BE4253D3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7" y="199"/>
              <a:ext cx="84" cy="141"/>
            </a:xfrm>
            <a:custGeom>
              <a:avLst/>
              <a:gdLst>
                <a:gd name="T0" fmla="*/ 210 w 225"/>
                <a:gd name="T1" fmla="*/ 356 h 376"/>
                <a:gd name="T2" fmla="*/ 82 w 225"/>
                <a:gd name="T3" fmla="*/ 182 h 376"/>
                <a:gd name="T4" fmla="*/ 202 w 225"/>
                <a:gd name="T5" fmla="*/ 9 h 376"/>
                <a:gd name="T6" fmla="*/ 154 w 225"/>
                <a:gd name="T7" fmla="*/ 0 h 376"/>
                <a:gd name="T8" fmla="*/ 0 w 225"/>
                <a:gd name="T9" fmla="*/ 188 h 376"/>
                <a:gd name="T10" fmla="*/ 154 w 225"/>
                <a:gd name="T11" fmla="*/ 376 h 376"/>
                <a:gd name="T12" fmla="*/ 225 w 225"/>
                <a:gd name="T13" fmla="*/ 354 h 376"/>
                <a:gd name="T14" fmla="*/ 210 w 225"/>
                <a:gd name="T15" fmla="*/ 35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376">
                  <a:moveTo>
                    <a:pt x="210" y="356"/>
                  </a:moveTo>
                  <a:cubicBezTo>
                    <a:pt x="139" y="356"/>
                    <a:pt x="82" y="278"/>
                    <a:pt x="82" y="182"/>
                  </a:cubicBezTo>
                  <a:cubicBezTo>
                    <a:pt x="82" y="90"/>
                    <a:pt x="135" y="15"/>
                    <a:pt x="202" y="9"/>
                  </a:cubicBezTo>
                  <a:cubicBezTo>
                    <a:pt x="187" y="3"/>
                    <a:pt x="170" y="0"/>
                    <a:pt x="154" y="0"/>
                  </a:cubicBezTo>
                  <a:cubicBezTo>
                    <a:pt x="69" y="0"/>
                    <a:pt x="0" y="84"/>
                    <a:pt x="0" y="188"/>
                  </a:cubicBezTo>
                  <a:cubicBezTo>
                    <a:pt x="0" y="292"/>
                    <a:pt x="69" y="376"/>
                    <a:pt x="154" y="376"/>
                  </a:cubicBezTo>
                  <a:cubicBezTo>
                    <a:pt x="179" y="376"/>
                    <a:pt x="204" y="368"/>
                    <a:pt x="225" y="354"/>
                  </a:cubicBezTo>
                  <a:cubicBezTo>
                    <a:pt x="220" y="355"/>
                    <a:pt x="215" y="356"/>
                    <a:pt x="210" y="3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" name="Tools3">
            <a:extLst>
              <a:ext uri="{FF2B5EF4-FFF2-40B4-BE49-F238E27FC236}">
                <a16:creationId xmlns:a16="http://schemas.microsoft.com/office/drawing/2014/main" id="{6285AA11-35AA-43C2-9933-508F3D4FE575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4410389" y="6105150"/>
            <a:ext cx="271928" cy="265733"/>
          </a:xfrm>
          <a:custGeom>
            <a:avLst/>
            <a:gdLst>
              <a:gd name="T0" fmla="*/ 250 w 2000"/>
              <a:gd name="T1" fmla="*/ 0 h 1950"/>
              <a:gd name="T2" fmla="*/ 225 w 2000"/>
              <a:gd name="T3" fmla="*/ 50 h 1950"/>
              <a:gd name="T4" fmla="*/ 488 w 2000"/>
              <a:gd name="T5" fmla="*/ 200 h 1950"/>
              <a:gd name="T6" fmla="*/ 325 w 2000"/>
              <a:gd name="T7" fmla="*/ 488 h 1950"/>
              <a:gd name="T8" fmla="*/ 63 w 2000"/>
              <a:gd name="T9" fmla="*/ 338 h 1950"/>
              <a:gd name="T10" fmla="*/ 50 w 2000"/>
              <a:gd name="T11" fmla="*/ 363 h 1950"/>
              <a:gd name="T12" fmla="*/ 488 w 2000"/>
              <a:gd name="T13" fmla="*/ 675 h 1950"/>
              <a:gd name="T14" fmla="*/ 838 w 2000"/>
              <a:gd name="T15" fmla="*/ 963 h 1950"/>
              <a:gd name="T16" fmla="*/ 1038 w 2000"/>
              <a:gd name="T17" fmla="*/ 763 h 1950"/>
              <a:gd name="T18" fmla="*/ 713 w 2000"/>
              <a:gd name="T19" fmla="*/ 375 h 1950"/>
              <a:gd name="T20" fmla="*/ 250 w 2000"/>
              <a:gd name="T21" fmla="*/ 0 h 1950"/>
              <a:gd name="T22" fmla="*/ 1813 w 2000"/>
              <a:gd name="T23" fmla="*/ 63 h 1950"/>
              <a:gd name="T24" fmla="*/ 1563 w 2000"/>
              <a:gd name="T25" fmla="*/ 238 h 1950"/>
              <a:gd name="T26" fmla="*/ 1538 w 2000"/>
              <a:gd name="T27" fmla="*/ 338 h 1950"/>
              <a:gd name="T28" fmla="*/ 813 w 2000"/>
              <a:gd name="T29" fmla="*/ 1063 h 1950"/>
              <a:gd name="T30" fmla="*/ 713 w 2000"/>
              <a:gd name="T31" fmla="*/ 1000 h 1950"/>
              <a:gd name="T32" fmla="*/ 663 w 2000"/>
              <a:gd name="T33" fmla="*/ 1050 h 1950"/>
              <a:gd name="T34" fmla="*/ 413 w 2000"/>
              <a:gd name="T35" fmla="*/ 1275 h 1950"/>
              <a:gd name="T36" fmla="*/ 0 w 2000"/>
              <a:gd name="T37" fmla="*/ 1688 h 1950"/>
              <a:gd name="T38" fmla="*/ 263 w 2000"/>
              <a:gd name="T39" fmla="*/ 1950 h 1950"/>
              <a:gd name="T40" fmla="*/ 675 w 2000"/>
              <a:gd name="T41" fmla="*/ 1538 h 1950"/>
              <a:gd name="T42" fmla="*/ 900 w 2000"/>
              <a:gd name="T43" fmla="*/ 1288 h 1950"/>
              <a:gd name="T44" fmla="*/ 950 w 2000"/>
              <a:gd name="T45" fmla="*/ 1238 h 1950"/>
              <a:gd name="T46" fmla="*/ 888 w 2000"/>
              <a:gd name="T47" fmla="*/ 1138 h 1950"/>
              <a:gd name="T48" fmla="*/ 1613 w 2000"/>
              <a:gd name="T49" fmla="*/ 413 h 1950"/>
              <a:gd name="T50" fmla="*/ 1713 w 2000"/>
              <a:gd name="T51" fmla="*/ 388 h 1950"/>
              <a:gd name="T52" fmla="*/ 1888 w 2000"/>
              <a:gd name="T53" fmla="*/ 138 h 1950"/>
              <a:gd name="T54" fmla="*/ 1813 w 2000"/>
              <a:gd name="T55" fmla="*/ 63 h 1950"/>
              <a:gd name="T56" fmla="*/ 1188 w 2000"/>
              <a:gd name="T57" fmla="*/ 913 h 1950"/>
              <a:gd name="T58" fmla="*/ 988 w 2000"/>
              <a:gd name="T59" fmla="*/ 1113 h 1950"/>
              <a:gd name="T60" fmla="*/ 1338 w 2000"/>
              <a:gd name="T61" fmla="*/ 1525 h 1950"/>
              <a:gd name="T62" fmla="*/ 1800 w 2000"/>
              <a:gd name="T63" fmla="*/ 1900 h 1950"/>
              <a:gd name="T64" fmla="*/ 1825 w 2000"/>
              <a:gd name="T65" fmla="*/ 1850 h 1950"/>
              <a:gd name="T66" fmla="*/ 1563 w 2000"/>
              <a:gd name="T67" fmla="*/ 1700 h 1950"/>
              <a:gd name="T68" fmla="*/ 1725 w 2000"/>
              <a:gd name="T69" fmla="*/ 1413 h 1950"/>
              <a:gd name="T70" fmla="*/ 1988 w 2000"/>
              <a:gd name="T71" fmla="*/ 1563 h 1950"/>
              <a:gd name="T72" fmla="*/ 2000 w 2000"/>
              <a:gd name="T73" fmla="*/ 1538 h 1950"/>
              <a:gd name="T74" fmla="*/ 1563 w 2000"/>
              <a:gd name="T75" fmla="*/ 1225 h 1950"/>
              <a:gd name="T76" fmla="*/ 1188 w 2000"/>
              <a:gd name="T77" fmla="*/ 913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00" h="1950">
                <a:moveTo>
                  <a:pt x="250" y="0"/>
                </a:moveTo>
                <a:lnTo>
                  <a:pt x="225" y="50"/>
                </a:lnTo>
                <a:lnTo>
                  <a:pt x="488" y="200"/>
                </a:lnTo>
                <a:cubicBezTo>
                  <a:pt x="488" y="325"/>
                  <a:pt x="438" y="425"/>
                  <a:pt x="325" y="488"/>
                </a:cubicBezTo>
                <a:lnTo>
                  <a:pt x="63" y="338"/>
                </a:lnTo>
                <a:lnTo>
                  <a:pt x="50" y="363"/>
                </a:lnTo>
                <a:cubicBezTo>
                  <a:pt x="113" y="550"/>
                  <a:pt x="238" y="675"/>
                  <a:pt x="488" y="675"/>
                </a:cubicBezTo>
                <a:cubicBezTo>
                  <a:pt x="550" y="675"/>
                  <a:pt x="738" y="863"/>
                  <a:pt x="838" y="963"/>
                </a:cubicBezTo>
                <a:lnTo>
                  <a:pt x="1038" y="763"/>
                </a:lnTo>
                <a:cubicBezTo>
                  <a:pt x="938" y="663"/>
                  <a:pt x="713" y="438"/>
                  <a:pt x="713" y="375"/>
                </a:cubicBezTo>
                <a:cubicBezTo>
                  <a:pt x="713" y="150"/>
                  <a:pt x="650" y="0"/>
                  <a:pt x="250" y="0"/>
                </a:cubicBezTo>
                <a:close/>
                <a:moveTo>
                  <a:pt x="1813" y="63"/>
                </a:moveTo>
                <a:lnTo>
                  <a:pt x="1563" y="238"/>
                </a:lnTo>
                <a:lnTo>
                  <a:pt x="1538" y="338"/>
                </a:lnTo>
                <a:lnTo>
                  <a:pt x="813" y="1063"/>
                </a:lnTo>
                <a:lnTo>
                  <a:pt x="713" y="1000"/>
                </a:lnTo>
                <a:lnTo>
                  <a:pt x="663" y="1050"/>
                </a:lnTo>
                <a:cubicBezTo>
                  <a:pt x="663" y="1200"/>
                  <a:pt x="488" y="1275"/>
                  <a:pt x="413" y="1275"/>
                </a:cubicBezTo>
                <a:lnTo>
                  <a:pt x="0" y="1688"/>
                </a:lnTo>
                <a:cubicBezTo>
                  <a:pt x="0" y="1813"/>
                  <a:pt x="138" y="1950"/>
                  <a:pt x="263" y="1950"/>
                </a:cubicBezTo>
                <a:lnTo>
                  <a:pt x="675" y="1538"/>
                </a:lnTo>
                <a:cubicBezTo>
                  <a:pt x="675" y="1463"/>
                  <a:pt x="750" y="1288"/>
                  <a:pt x="900" y="1288"/>
                </a:cubicBezTo>
                <a:lnTo>
                  <a:pt x="950" y="1238"/>
                </a:lnTo>
                <a:lnTo>
                  <a:pt x="888" y="1138"/>
                </a:lnTo>
                <a:lnTo>
                  <a:pt x="1613" y="413"/>
                </a:lnTo>
                <a:lnTo>
                  <a:pt x="1713" y="388"/>
                </a:lnTo>
                <a:lnTo>
                  <a:pt x="1888" y="138"/>
                </a:lnTo>
                <a:lnTo>
                  <a:pt x="1813" y="63"/>
                </a:lnTo>
                <a:close/>
                <a:moveTo>
                  <a:pt x="1188" y="913"/>
                </a:moveTo>
                <a:lnTo>
                  <a:pt x="988" y="1113"/>
                </a:lnTo>
                <a:cubicBezTo>
                  <a:pt x="1138" y="1263"/>
                  <a:pt x="1338" y="1463"/>
                  <a:pt x="1338" y="1525"/>
                </a:cubicBezTo>
                <a:cubicBezTo>
                  <a:pt x="1338" y="1750"/>
                  <a:pt x="1400" y="1900"/>
                  <a:pt x="1800" y="1900"/>
                </a:cubicBezTo>
                <a:lnTo>
                  <a:pt x="1825" y="1850"/>
                </a:lnTo>
                <a:lnTo>
                  <a:pt x="1563" y="1700"/>
                </a:lnTo>
                <a:cubicBezTo>
                  <a:pt x="1563" y="1575"/>
                  <a:pt x="1613" y="1475"/>
                  <a:pt x="1725" y="1413"/>
                </a:cubicBezTo>
                <a:lnTo>
                  <a:pt x="1988" y="1563"/>
                </a:lnTo>
                <a:lnTo>
                  <a:pt x="2000" y="1538"/>
                </a:lnTo>
                <a:cubicBezTo>
                  <a:pt x="1938" y="1350"/>
                  <a:pt x="1813" y="1225"/>
                  <a:pt x="1563" y="1225"/>
                </a:cubicBezTo>
                <a:cubicBezTo>
                  <a:pt x="1500" y="1225"/>
                  <a:pt x="1338" y="1063"/>
                  <a:pt x="1188" y="91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0" name="Clipboard6">
            <a:extLst>
              <a:ext uri="{FF2B5EF4-FFF2-40B4-BE49-F238E27FC236}">
                <a16:creationId xmlns:a16="http://schemas.microsoft.com/office/drawing/2014/main" id="{28FF283F-9D14-47BB-9DB6-D0554179B8A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2866370" y="6145601"/>
            <a:ext cx="185703" cy="265733"/>
            <a:chOff x="2478" y="664"/>
            <a:chExt cx="2648" cy="2784"/>
          </a:xfrm>
          <a:solidFill>
            <a:schemeClr val="bg1"/>
          </a:solidFill>
        </p:grpSpPr>
        <p:sp>
          <p:nvSpPr>
            <p:cNvPr id="41" name="Rectangle 260">
              <a:extLst>
                <a:ext uri="{FF2B5EF4-FFF2-40B4-BE49-F238E27FC236}">
                  <a16:creationId xmlns:a16="http://schemas.microsoft.com/office/drawing/2014/main" id="{5B06F135-94AB-4810-8B03-076F8FEB41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" y="1591"/>
              <a:ext cx="1322" cy="1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61">
              <a:extLst>
                <a:ext uri="{FF2B5EF4-FFF2-40B4-BE49-F238E27FC236}">
                  <a16:creationId xmlns:a16="http://schemas.microsoft.com/office/drawing/2014/main" id="{4B0DB3F8-0810-46BA-B689-018491B65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664"/>
              <a:ext cx="2648" cy="2784"/>
            </a:xfrm>
            <a:custGeom>
              <a:avLst/>
              <a:gdLst>
                <a:gd name="T0" fmla="*/ 600 w 667"/>
                <a:gd name="T1" fmla="*/ 633 h 700"/>
                <a:gd name="T2" fmla="*/ 67 w 667"/>
                <a:gd name="T3" fmla="*/ 633 h 700"/>
                <a:gd name="T4" fmla="*/ 67 w 667"/>
                <a:gd name="T5" fmla="*/ 100 h 700"/>
                <a:gd name="T6" fmla="*/ 203 w 667"/>
                <a:gd name="T7" fmla="*/ 100 h 700"/>
                <a:gd name="T8" fmla="*/ 250 w 667"/>
                <a:gd name="T9" fmla="*/ 133 h 700"/>
                <a:gd name="T10" fmla="*/ 417 w 667"/>
                <a:gd name="T11" fmla="*/ 133 h 700"/>
                <a:gd name="T12" fmla="*/ 464 w 667"/>
                <a:gd name="T13" fmla="*/ 100 h 700"/>
                <a:gd name="T14" fmla="*/ 600 w 667"/>
                <a:gd name="T15" fmla="*/ 100 h 700"/>
                <a:gd name="T16" fmla="*/ 600 w 667"/>
                <a:gd name="T17" fmla="*/ 633 h 700"/>
                <a:gd name="T18" fmla="*/ 600 w 667"/>
                <a:gd name="T19" fmla="*/ 33 h 700"/>
                <a:gd name="T20" fmla="*/ 467 w 667"/>
                <a:gd name="T21" fmla="*/ 33 h 700"/>
                <a:gd name="T22" fmla="*/ 467 w 667"/>
                <a:gd name="T23" fmla="*/ 0 h 700"/>
                <a:gd name="T24" fmla="*/ 200 w 667"/>
                <a:gd name="T25" fmla="*/ 0 h 700"/>
                <a:gd name="T26" fmla="*/ 200 w 667"/>
                <a:gd name="T27" fmla="*/ 33 h 700"/>
                <a:gd name="T28" fmla="*/ 67 w 667"/>
                <a:gd name="T29" fmla="*/ 33 h 700"/>
                <a:gd name="T30" fmla="*/ 0 w 667"/>
                <a:gd name="T31" fmla="*/ 100 h 700"/>
                <a:gd name="T32" fmla="*/ 0 w 667"/>
                <a:gd name="T33" fmla="*/ 191 h 700"/>
                <a:gd name="T34" fmla="*/ 0 w 667"/>
                <a:gd name="T35" fmla="*/ 633 h 700"/>
                <a:gd name="T36" fmla="*/ 67 w 667"/>
                <a:gd name="T37" fmla="*/ 700 h 700"/>
                <a:gd name="T38" fmla="*/ 600 w 667"/>
                <a:gd name="T39" fmla="*/ 700 h 700"/>
                <a:gd name="T40" fmla="*/ 667 w 667"/>
                <a:gd name="T41" fmla="*/ 633 h 700"/>
                <a:gd name="T42" fmla="*/ 667 w 667"/>
                <a:gd name="T43" fmla="*/ 191 h 700"/>
                <a:gd name="T44" fmla="*/ 667 w 667"/>
                <a:gd name="T45" fmla="*/ 100 h 700"/>
                <a:gd name="T46" fmla="*/ 600 w 667"/>
                <a:gd name="T47" fmla="*/ 33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67" h="700">
                  <a:moveTo>
                    <a:pt x="600" y="633"/>
                  </a:moveTo>
                  <a:lnTo>
                    <a:pt x="67" y="633"/>
                  </a:lnTo>
                  <a:lnTo>
                    <a:pt x="67" y="100"/>
                  </a:lnTo>
                  <a:lnTo>
                    <a:pt x="203" y="100"/>
                  </a:lnTo>
                  <a:cubicBezTo>
                    <a:pt x="210" y="119"/>
                    <a:pt x="228" y="133"/>
                    <a:pt x="250" y="133"/>
                  </a:cubicBezTo>
                  <a:lnTo>
                    <a:pt x="417" y="133"/>
                  </a:lnTo>
                  <a:cubicBezTo>
                    <a:pt x="438" y="133"/>
                    <a:pt x="457" y="119"/>
                    <a:pt x="464" y="100"/>
                  </a:cubicBezTo>
                  <a:lnTo>
                    <a:pt x="600" y="100"/>
                  </a:lnTo>
                  <a:lnTo>
                    <a:pt x="600" y="633"/>
                  </a:lnTo>
                  <a:close/>
                  <a:moveTo>
                    <a:pt x="600" y="33"/>
                  </a:moveTo>
                  <a:lnTo>
                    <a:pt x="467" y="33"/>
                  </a:lnTo>
                  <a:lnTo>
                    <a:pt x="467" y="0"/>
                  </a:lnTo>
                  <a:lnTo>
                    <a:pt x="200" y="0"/>
                  </a:lnTo>
                  <a:lnTo>
                    <a:pt x="200" y="33"/>
                  </a:lnTo>
                  <a:lnTo>
                    <a:pt x="67" y="33"/>
                  </a:lnTo>
                  <a:cubicBezTo>
                    <a:pt x="30" y="33"/>
                    <a:pt x="0" y="63"/>
                    <a:pt x="0" y="100"/>
                  </a:cubicBezTo>
                  <a:lnTo>
                    <a:pt x="0" y="191"/>
                  </a:lnTo>
                  <a:lnTo>
                    <a:pt x="0" y="633"/>
                  </a:lnTo>
                  <a:cubicBezTo>
                    <a:pt x="0" y="670"/>
                    <a:pt x="30" y="700"/>
                    <a:pt x="67" y="700"/>
                  </a:cubicBezTo>
                  <a:lnTo>
                    <a:pt x="600" y="700"/>
                  </a:lnTo>
                  <a:cubicBezTo>
                    <a:pt x="637" y="700"/>
                    <a:pt x="667" y="670"/>
                    <a:pt x="667" y="633"/>
                  </a:cubicBezTo>
                  <a:lnTo>
                    <a:pt x="667" y="191"/>
                  </a:lnTo>
                  <a:lnTo>
                    <a:pt x="667" y="100"/>
                  </a:lnTo>
                  <a:cubicBezTo>
                    <a:pt x="667" y="63"/>
                    <a:pt x="637" y="33"/>
                    <a:pt x="600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Rectangle 262">
              <a:extLst>
                <a:ext uri="{FF2B5EF4-FFF2-40B4-BE49-F238E27FC236}">
                  <a16:creationId xmlns:a16="http://schemas.microsoft.com/office/drawing/2014/main" id="{8E35D2DD-1593-4CB6-9E50-447B6208D2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" y="2653"/>
              <a:ext cx="1322" cy="1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Rectangle 263">
              <a:extLst>
                <a:ext uri="{FF2B5EF4-FFF2-40B4-BE49-F238E27FC236}">
                  <a16:creationId xmlns:a16="http://schemas.microsoft.com/office/drawing/2014/main" id="{EA04F20A-36C7-4AC9-86A7-B1A210A66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" y="1857"/>
              <a:ext cx="1322" cy="1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Rectangle 264">
              <a:extLst>
                <a:ext uri="{FF2B5EF4-FFF2-40B4-BE49-F238E27FC236}">
                  <a16:creationId xmlns:a16="http://schemas.microsoft.com/office/drawing/2014/main" id="{4F7B2334-75E4-4886-9E25-863D01DB4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" y="2386"/>
              <a:ext cx="1322" cy="1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Rectangle 265">
              <a:extLst>
                <a:ext uri="{FF2B5EF4-FFF2-40B4-BE49-F238E27FC236}">
                  <a16:creationId xmlns:a16="http://schemas.microsoft.com/office/drawing/2014/main" id="{9977970F-04BF-4D43-B2CB-390BEFA7B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1" y="2120"/>
              <a:ext cx="1322" cy="13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7" name="Globe">
            <a:extLst>
              <a:ext uri="{FF2B5EF4-FFF2-40B4-BE49-F238E27FC236}">
                <a16:creationId xmlns:a16="http://schemas.microsoft.com/office/drawing/2014/main" id="{94DEA86C-5867-401B-8CF1-A81C8833414E}"/>
              </a:ext>
            </a:extLst>
          </p:cNvPr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991219" y="6155978"/>
            <a:ext cx="248909" cy="249380"/>
          </a:xfrm>
          <a:custGeom>
            <a:avLst/>
            <a:gdLst>
              <a:gd name="T0" fmla="*/ 625 w 800"/>
              <a:gd name="T1" fmla="*/ 375 h 800"/>
              <a:gd name="T2" fmla="*/ 692 w 800"/>
              <a:gd name="T3" fmla="*/ 208 h 800"/>
              <a:gd name="T4" fmla="*/ 691 w 800"/>
              <a:gd name="T5" fmla="*/ 595 h 800"/>
              <a:gd name="T6" fmla="*/ 625 w 800"/>
              <a:gd name="T7" fmla="*/ 425 h 800"/>
              <a:gd name="T8" fmla="*/ 691 w 800"/>
              <a:gd name="T9" fmla="*/ 595 h 800"/>
              <a:gd name="T10" fmla="*/ 593 w 800"/>
              <a:gd name="T11" fmla="*/ 607 h 800"/>
              <a:gd name="T12" fmla="*/ 532 w 800"/>
              <a:gd name="T13" fmla="*/ 724 h 800"/>
              <a:gd name="T14" fmla="*/ 425 w 800"/>
              <a:gd name="T15" fmla="*/ 579 h 800"/>
              <a:gd name="T16" fmla="*/ 516 w 800"/>
              <a:gd name="T17" fmla="*/ 659 h 800"/>
              <a:gd name="T18" fmla="*/ 425 w 800"/>
              <a:gd name="T19" fmla="*/ 425 h 800"/>
              <a:gd name="T20" fmla="*/ 559 w 800"/>
              <a:gd name="T21" fmla="*/ 546 h 800"/>
              <a:gd name="T22" fmla="*/ 425 w 800"/>
              <a:gd name="T23" fmla="*/ 425 h 800"/>
              <a:gd name="T24" fmla="*/ 559 w 800"/>
              <a:gd name="T25" fmla="*/ 257 h 800"/>
              <a:gd name="T26" fmla="*/ 425 w 800"/>
              <a:gd name="T27" fmla="*/ 375 h 800"/>
              <a:gd name="T28" fmla="*/ 425 w 800"/>
              <a:gd name="T29" fmla="*/ 55 h 800"/>
              <a:gd name="T30" fmla="*/ 545 w 800"/>
              <a:gd name="T31" fmla="*/ 209 h 800"/>
              <a:gd name="T32" fmla="*/ 425 w 800"/>
              <a:gd name="T33" fmla="*/ 55 h 800"/>
              <a:gd name="T34" fmla="*/ 594 w 800"/>
              <a:gd name="T35" fmla="*/ 196 h 800"/>
              <a:gd name="T36" fmla="*/ 661 w 800"/>
              <a:gd name="T37" fmla="*/ 168 h 800"/>
              <a:gd name="T38" fmla="*/ 255 w 800"/>
              <a:gd name="T39" fmla="*/ 209 h 800"/>
              <a:gd name="T40" fmla="*/ 375 w 800"/>
              <a:gd name="T41" fmla="*/ 55 h 800"/>
              <a:gd name="T42" fmla="*/ 375 w 800"/>
              <a:gd name="T43" fmla="*/ 375 h 800"/>
              <a:gd name="T44" fmla="*/ 241 w 800"/>
              <a:gd name="T45" fmla="*/ 257 h 800"/>
              <a:gd name="T46" fmla="*/ 375 w 800"/>
              <a:gd name="T47" fmla="*/ 375 h 800"/>
              <a:gd name="T48" fmla="*/ 242 w 800"/>
              <a:gd name="T49" fmla="*/ 546 h 800"/>
              <a:gd name="T50" fmla="*/ 375 w 800"/>
              <a:gd name="T51" fmla="*/ 425 h 800"/>
              <a:gd name="T52" fmla="*/ 375 w 800"/>
              <a:gd name="T53" fmla="*/ 746 h 800"/>
              <a:gd name="T54" fmla="*/ 256 w 800"/>
              <a:gd name="T55" fmla="*/ 594 h 800"/>
              <a:gd name="T56" fmla="*/ 375 w 800"/>
              <a:gd name="T57" fmla="*/ 746 h 800"/>
              <a:gd name="T58" fmla="*/ 208 w 800"/>
              <a:gd name="T59" fmla="*/ 607 h 800"/>
              <a:gd name="T60" fmla="*/ 141 w 800"/>
              <a:gd name="T61" fmla="*/ 635 h 800"/>
              <a:gd name="T62" fmla="*/ 52 w 800"/>
              <a:gd name="T63" fmla="*/ 425 h 800"/>
              <a:gd name="T64" fmla="*/ 194 w 800"/>
              <a:gd name="T65" fmla="*/ 559 h 800"/>
              <a:gd name="T66" fmla="*/ 108 w 800"/>
              <a:gd name="T67" fmla="*/ 208 h 800"/>
              <a:gd name="T68" fmla="*/ 176 w 800"/>
              <a:gd name="T69" fmla="*/ 375 h 800"/>
              <a:gd name="T70" fmla="*/ 108 w 800"/>
              <a:gd name="T71" fmla="*/ 208 h 800"/>
              <a:gd name="T72" fmla="*/ 207 w 800"/>
              <a:gd name="T73" fmla="*/ 196 h 800"/>
              <a:gd name="T74" fmla="*/ 268 w 800"/>
              <a:gd name="T75" fmla="*/ 76 h 800"/>
              <a:gd name="T76" fmla="*/ 425 w 800"/>
              <a:gd name="T77" fmla="*/ 0 h 800"/>
              <a:gd name="T78" fmla="*/ 375 w 800"/>
              <a:gd name="T79" fmla="*/ 1 h 800"/>
              <a:gd name="T80" fmla="*/ 0 w 800"/>
              <a:gd name="T81" fmla="*/ 375 h 800"/>
              <a:gd name="T82" fmla="*/ 1 w 800"/>
              <a:gd name="T83" fmla="*/ 425 h 800"/>
              <a:gd name="T84" fmla="*/ 375 w 800"/>
              <a:gd name="T85" fmla="*/ 800 h 800"/>
              <a:gd name="T86" fmla="*/ 425 w 800"/>
              <a:gd name="T87" fmla="*/ 799 h 800"/>
              <a:gd name="T88" fmla="*/ 800 w 800"/>
              <a:gd name="T89" fmla="*/ 425 h 800"/>
              <a:gd name="T90" fmla="*/ 799 w 800"/>
              <a:gd name="T91" fmla="*/ 375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00" h="800">
                <a:moveTo>
                  <a:pt x="749" y="375"/>
                </a:moveTo>
                <a:lnTo>
                  <a:pt x="625" y="375"/>
                </a:lnTo>
                <a:cubicBezTo>
                  <a:pt x="623" y="329"/>
                  <a:pt x="617" y="285"/>
                  <a:pt x="607" y="244"/>
                </a:cubicBezTo>
                <a:cubicBezTo>
                  <a:pt x="638" y="234"/>
                  <a:pt x="667" y="222"/>
                  <a:pt x="692" y="208"/>
                </a:cubicBezTo>
                <a:cubicBezTo>
                  <a:pt x="725" y="257"/>
                  <a:pt x="745" y="314"/>
                  <a:pt x="749" y="375"/>
                </a:cubicBezTo>
                <a:close/>
                <a:moveTo>
                  <a:pt x="691" y="595"/>
                </a:moveTo>
                <a:cubicBezTo>
                  <a:pt x="666" y="581"/>
                  <a:pt x="637" y="569"/>
                  <a:pt x="607" y="559"/>
                </a:cubicBezTo>
                <a:cubicBezTo>
                  <a:pt x="617" y="518"/>
                  <a:pt x="623" y="473"/>
                  <a:pt x="625" y="425"/>
                </a:cubicBezTo>
                <a:lnTo>
                  <a:pt x="749" y="425"/>
                </a:lnTo>
                <a:cubicBezTo>
                  <a:pt x="745" y="488"/>
                  <a:pt x="724" y="546"/>
                  <a:pt x="691" y="595"/>
                </a:cubicBezTo>
                <a:close/>
                <a:moveTo>
                  <a:pt x="532" y="724"/>
                </a:moveTo>
                <a:cubicBezTo>
                  <a:pt x="557" y="693"/>
                  <a:pt x="577" y="653"/>
                  <a:pt x="593" y="607"/>
                </a:cubicBezTo>
                <a:cubicBezTo>
                  <a:pt x="617" y="615"/>
                  <a:pt x="639" y="624"/>
                  <a:pt x="660" y="635"/>
                </a:cubicBezTo>
                <a:cubicBezTo>
                  <a:pt x="625" y="673"/>
                  <a:pt x="581" y="704"/>
                  <a:pt x="532" y="724"/>
                </a:cubicBezTo>
                <a:close/>
                <a:moveTo>
                  <a:pt x="425" y="746"/>
                </a:moveTo>
                <a:lnTo>
                  <a:pt x="425" y="579"/>
                </a:lnTo>
                <a:cubicBezTo>
                  <a:pt x="467" y="580"/>
                  <a:pt x="507" y="585"/>
                  <a:pt x="545" y="594"/>
                </a:cubicBezTo>
                <a:cubicBezTo>
                  <a:pt x="536" y="617"/>
                  <a:pt x="527" y="639"/>
                  <a:pt x="516" y="659"/>
                </a:cubicBezTo>
                <a:cubicBezTo>
                  <a:pt x="490" y="705"/>
                  <a:pt x="458" y="735"/>
                  <a:pt x="425" y="746"/>
                </a:cubicBezTo>
                <a:close/>
                <a:moveTo>
                  <a:pt x="425" y="425"/>
                </a:moveTo>
                <a:lnTo>
                  <a:pt x="575" y="425"/>
                </a:lnTo>
                <a:cubicBezTo>
                  <a:pt x="573" y="468"/>
                  <a:pt x="568" y="508"/>
                  <a:pt x="559" y="546"/>
                </a:cubicBezTo>
                <a:cubicBezTo>
                  <a:pt x="516" y="536"/>
                  <a:pt x="472" y="530"/>
                  <a:pt x="425" y="529"/>
                </a:cubicBezTo>
                <a:lnTo>
                  <a:pt x="425" y="425"/>
                </a:lnTo>
                <a:close/>
                <a:moveTo>
                  <a:pt x="425" y="275"/>
                </a:moveTo>
                <a:cubicBezTo>
                  <a:pt x="472" y="273"/>
                  <a:pt x="517" y="267"/>
                  <a:pt x="559" y="257"/>
                </a:cubicBezTo>
                <a:cubicBezTo>
                  <a:pt x="568" y="294"/>
                  <a:pt x="573" y="334"/>
                  <a:pt x="575" y="375"/>
                </a:cubicBezTo>
                <a:lnTo>
                  <a:pt x="425" y="375"/>
                </a:lnTo>
                <a:lnTo>
                  <a:pt x="425" y="275"/>
                </a:lnTo>
                <a:close/>
                <a:moveTo>
                  <a:pt x="425" y="55"/>
                </a:moveTo>
                <a:cubicBezTo>
                  <a:pt x="458" y="65"/>
                  <a:pt x="490" y="96"/>
                  <a:pt x="516" y="142"/>
                </a:cubicBezTo>
                <a:cubicBezTo>
                  <a:pt x="527" y="162"/>
                  <a:pt x="537" y="185"/>
                  <a:pt x="545" y="209"/>
                </a:cubicBezTo>
                <a:cubicBezTo>
                  <a:pt x="507" y="218"/>
                  <a:pt x="467" y="223"/>
                  <a:pt x="425" y="225"/>
                </a:cubicBezTo>
                <a:lnTo>
                  <a:pt x="425" y="55"/>
                </a:lnTo>
                <a:close/>
                <a:moveTo>
                  <a:pt x="661" y="168"/>
                </a:moveTo>
                <a:cubicBezTo>
                  <a:pt x="641" y="179"/>
                  <a:pt x="618" y="188"/>
                  <a:pt x="594" y="196"/>
                </a:cubicBezTo>
                <a:cubicBezTo>
                  <a:pt x="578" y="149"/>
                  <a:pt x="557" y="108"/>
                  <a:pt x="532" y="76"/>
                </a:cubicBezTo>
                <a:cubicBezTo>
                  <a:pt x="582" y="97"/>
                  <a:pt x="626" y="128"/>
                  <a:pt x="661" y="168"/>
                </a:cubicBezTo>
                <a:close/>
                <a:moveTo>
                  <a:pt x="375" y="225"/>
                </a:moveTo>
                <a:cubicBezTo>
                  <a:pt x="334" y="223"/>
                  <a:pt x="293" y="218"/>
                  <a:pt x="255" y="209"/>
                </a:cubicBezTo>
                <a:cubicBezTo>
                  <a:pt x="264" y="185"/>
                  <a:pt x="273" y="162"/>
                  <a:pt x="285" y="142"/>
                </a:cubicBezTo>
                <a:cubicBezTo>
                  <a:pt x="311" y="96"/>
                  <a:pt x="343" y="65"/>
                  <a:pt x="375" y="55"/>
                </a:cubicBezTo>
                <a:lnTo>
                  <a:pt x="375" y="225"/>
                </a:lnTo>
                <a:close/>
                <a:moveTo>
                  <a:pt x="375" y="375"/>
                </a:moveTo>
                <a:lnTo>
                  <a:pt x="226" y="375"/>
                </a:lnTo>
                <a:cubicBezTo>
                  <a:pt x="228" y="334"/>
                  <a:pt x="233" y="294"/>
                  <a:pt x="241" y="257"/>
                </a:cubicBezTo>
                <a:cubicBezTo>
                  <a:pt x="284" y="267"/>
                  <a:pt x="329" y="273"/>
                  <a:pt x="375" y="275"/>
                </a:cubicBezTo>
                <a:lnTo>
                  <a:pt x="375" y="375"/>
                </a:lnTo>
                <a:close/>
                <a:moveTo>
                  <a:pt x="375" y="529"/>
                </a:moveTo>
                <a:cubicBezTo>
                  <a:pt x="329" y="530"/>
                  <a:pt x="284" y="536"/>
                  <a:pt x="242" y="546"/>
                </a:cubicBezTo>
                <a:cubicBezTo>
                  <a:pt x="233" y="508"/>
                  <a:pt x="228" y="467"/>
                  <a:pt x="226" y="425"/>
                </a:cubicBezTo>
                <a:lnTo>
                  <a:pt x="375" y="425"/>
                </a:lnTo>
                <a:lnTo>
                  <a:pt x="375" y="529"/>
                </a:lnTo>
                <a:close/>
                <a:moveTo>
                  <a:pt x="375" y="746"/>
                </a:moveTo>
                <a:cubicBezTo>
                  <a:pt x="343" y="735"/>
                  <a:pt x="311" y="705"/>
                  <a:pt x="285" y="659"/>
                </a:cubicBezTo>
                <a:cubicBezTo>
                  <a:pt x="274" y="639"/>
                  <a:pt x="264" y="617"/>
                  <a:pt x="256" y="594"/>
                </a:cubicBezTo>
                <a:cubicBezTo>
                  <a:pt x="294" y="585"/>
                  <a:pt x="334" y="580"/>
                  <a:pt x="375" y="579"/>
                </a:cubicBezTo>
                <a:lnTo>
                  <a:pt x="375" y="746"/>
                </a:lnTo>
                <a:close/>
                <a:moveTo>
                  <a:pt x="141" y="635"/>
                </a:moveTo>
                <a:cubicBezTo>
                  <a:pt x="161" y="624"/>
                  <a:pt x="184" y="615"/>
                  <a:pt x="208" y="607"/>
                </a:cubicBezTo>
                <a:cubicBezTo>
                  <a:pt x="223" y="653"/>
                  <a:pt x="244" y="693"/>
                  <a:pt x="268" y="724"/>
                </a:cubicBezTo>
                <a:cubicBezTo>
                  <a:pt x="219" y="704"/>
                  <a:pt x="176" y="673"/>
                  <a:pt x="141" y="635"/>
                </a:cubicBezTo>
                <a:close/>
                <a:moveTo>
                  <a:pt x="109" y="595"/>
                </a:moveTo>
                <a:cubicBezTo>
                  <a:pt x="77" y="546"/>
                  <a:pt x="56" y="488"/>
                  <a:pt x="52" y="425"/>
                </a:cubicBezTo>
                <a:lnTo>
                  <a:pt x="176" y="425"/>
                </a:lnTo>
                <a:cubicBezTo>
                  <a:pt x="177" y="473"/>
                  <a:pt x="184" y="518"/>
                  <a:pt x="194" y="559"/>
                </a:cubicBezTo>
                <a:cubicBezTo>
                  <a:pt x="163" y="569"/>
                  <a:pt x="135" y="581"/>
                  <a:pt x="109" y="595"/>
                </a:cubicBezTo>
                <a:close/>
                <a:moveTo>
                  <a:pt x="108" y="208"/>
                </a:moveTo>
                <a:cubicBezTo>
                  <a:pt x="134" y="222"/>
                  <a:pt x="163" y="234"/>
                  <a:pt x="193" y="244"/>
                </a:cubicBezTo>
                <a:cubicBezTo>
                  <a:pt x="183" y="285"/>
                  <a:pt x="177" y="329"/>
                  <a:pt x="176" y="375"/>
                </a:cubicBezTo>
                <a:lnTo>
                  <a:pt x="52" y="375"/>
                </a:lnTo>
                <a:cubicBezTo>
                  <a:pt x="56" y="314"/>
                  <a:pt x="76" y="257"/>
                  <a:pt x="108" y="208"/>
                </a:cubicBezTo>
                <a:close/>
                <a:moveTo>
                  <a:pt x="268" y="76"/>
                </a:moveTo>
                <a:cubicBezTo>
                  <a:pt x="244" y="108"/>
                  <a:pt x="223" y="149"/>
                  <a:pt x="207" y="196"/>
                </a:cubicBezTo>
                <a:cubicBezTo>
                  <a:pt x="183" y="188"/>
                  <a:pt x="160" y="179"/>
                  <a:pt x="139" y="168"/>
                </a:cubicBezTo>
                <a:cubicBezTo>
                  <a:pt x="175" y="128"/>
                  <a:pt x="219" y="97"/>
                  <a:pt x="268" y="76"/>
                </a:cubicBezTo>
                <a:close/>
                <a:moveTo>
                  <a:pt x="425" y="1"/>
                </a:moveTo>
                <a:lnTo>
                  <a:pt x="425" y="0"/>
                </a:lnTo>
                <a:lnTo>
                  <a:pt x="375" y="0"/>
                </a:lnTo>
                <a:lnTo>
                  <a:pt x="375" y="1"/>
                </a:lnTo>
                <a:cubicBezTo>
                  <a:pt x="174" y="14"/>
                  <a:pt x="14" y="174"/>
                  <a:pt x="1" y="375"/>
                </a:cubicBezTo>
                <a:lnTo>
                  <a:pt x="0" y="375"/>
                </a:lnTo>
                <a:lnTo>
                  <a:pt x="0" y="425"/>
                </a:lnTo>
                <a:lnTo>
                  <a:pt x="1" y="425"/>
                </a:lnTo>
                <a:cubicBezTo>
                  <a:pt x="14" y="626"/>
                  <a:pt x="174" y="787"/>
                  <a:pt x="375" y="799"/>
                </a:cubicBezTo>
                <a:lnTo>
                  <a:pt x="375" y="800"/>
                </a:lnTo>
                <a:lnTo>
                  <a:pt x="425" y="800"/>
                </a:lnTo>
                <a:lnTo>
                  <a:pt x="425" y="799"/>
                </a:lnTo>
                <a:cubicBezTo>
                  <a:pt x="626" y="787"/>
                  <a:pt x="787" y="626"/>
                  <a:pt x="799" y="425"/>
                </a:cubicBezTo>
                <a:lnTo>
                  <a:pt x="800" y="425"/>
                </a:lnTo>
                <a:lnTo>
                  <a:pt x="800" y="375"/>
                </a:lnTo>
                <a:lnTo>
                  <a:pt x="799" y="375"/>
                </a:lnTo>
                <a:cubicBezTo>
                  <a:pt x="787" y="174"/>
                  <a:pt x="626" y="14"/>
                  <a:pt x="425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AAFE83F-EE35-4315-B31A-DB876C814E5A}"/>
              </a:ext>
            </a:extLst>
          </p:cNvPr>
          <p:cNvSpPr/>
          <p:nvPr/>
        </p:nvSpPr>
        <p:spPr>
          <a:xfrm>
            <a:off x="1365538" y="186035"/>
            <a:ext cx="946092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4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BUSINESS TIMELINE INFOGRAPHIC</a:t>
            </a:r>
            <a:endParaRPr lang="en-US" sz="44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Callout: Bent Line with Accent Bar 48">
            <a:extLst>
              <a:ext uri="{FF2B5EF4-FFF2-40B4-BE49-F238E27FC236}">
                <a16:creationId xmlns:a16="http://schemas.microsoft.com/office/drawing/2014/main" id="{444D4119-4B88-411C-AC6A-94BB817C23E3}"/>
              </a:ext>
            </a:extLst>
          </p:cNvPr>
          <p:cNvSpPr>
            <a:spLocks noChangeAspect="1"/>
          </p:cNvSpPr>
          <p:nvPr/>
        </p:nvSpPr>
        <p:spPr>
          <a:xfrm>
            <a:off x="1393714" y="1135071"/>
            <a:ext cx="3621466" cy="631519"/>
          </a:xfrm>
          <a:prstGeom prst="accentCallout2">
            <a:avLst>
              <a:gd name="adj1" fmla="val 46974"/>
              <a:gd name="adj2" fmla="val -712"/>
              <a:gd name="adj3" fmla="val 44676"/>
              <a:gd name="adj4" fmla="val -13684"/>
              <a:gd name="adj5" fmla="val -418"/>
              <a:gd name="adj6" fmla="val -20900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MISSION,VISION &amp; STRATEGY</a:t>
            </a:r>
          </a:p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40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FEB4ED5-6CA4-4338-B052-04F8793E42C0}"/>
              </a:ext>
            </a:extLst>
          </p:cNvPr>
          <p:cNvSpPr>
            <a:spLocks noChangeAspect="1"/>
          </p:cNvSpPr>
          <p:nvPr/>
        </p:nvSpPr>
        <p:spPr>
          <a:xfrm>
            <a:off x="265523" y="2897753"/>
            <a:ext cx="518814" cy="515375"/>
          </a:xfrm>
          <a:prstGeom prst="ellipse">
            <a:avLst/>
          </a:prstGeom>
          <a:gradFill>
            <a:gsLst>
              <a:gs pos="32000">
                <a:srgbClr val="DA0000"/>
              </a:gs>
              <a:gs pos="56000">
                <a:srgbClr val="FF8F8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94C435-BEB2-4437-AB01-5B028302411B}"/>
              </a:ext>
            </a:extLst>
          </p:cNvPr>
          <p:cNvSpPr>
            <a:spLocks noChangeAspect="1"/>
          </p:cNvSpPr>
          <p:nvPr/>
        </p:nvSpPr>
        <p:spPr>
          <a:xfrm>
            <a:off x="245506" y="3409680"/>
            <a:ext cx="518814" cy="515375"/>
          </a:xfrm>
          <a:prstGeom prst="ellipse">
            <a:avLst/>
          </a:prstGeom>
          <a:gradFill>
            <a:gsLst>
              <a:gs pos="40000">
                <a:srgbClr val="FF6600"/>
              </a:gs>
              <a:gs pos="52000">
                <a:srgbClr val="FFB989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697B509-C4BC-48DA-A4A5-0615D4A18EDD}"/>
              </a:ext>
            </a:extLst>
          </p:cNvPr>
          <p:cNvSpPr>
            <a:spLocks noChangeAspect="1"/>
          </p:cNvSpPr>
          <p:nvPr/>
        </p:nvSpPr>
        <p:spPr>
          <a:xfrm>
            <a:off x="245506" y="3924238"/>
            <a:ext cx="518814" cy="515375"/>
          </a:xfrm>
          <a:prstGeom prst="ellipse">
            <a:avLst/>
          </a:prstGeom>
          <a:gradFill>
            <a:gsLst>
              <a:gs pos="45000">
                <a:srgbClr val="E9A701"/>
              </a:gs>
              <a:gs pos="55000">
                <a:srgbClr val="FFE8A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923A2E4-F7B5-4F8A-ABF8-2517F9645EC4}"/>
              </a:ext>
            </a:extLst>
          </p:cNvPr>
          <p:cNvSpPr>
            <a:spLocks noChangeAspect="1"/>
          </p:cNvSpPr>
          <p:nvPr/>
        </p:nvSpPr>
        <p:spPr>
          <a:xfrm>
            <a:off x="245506" y="4463425"/>
            <a:ext cx="518814" cy="515375"/>
          </a:xfrm>
          <a:prstGeom prst="ellipse">
            <a:avLst/>
          </a:prstGeom>
          <a:gradFill>
            <a:gsLst>
              <a:gs pos="47000">
                <a:srgbClr val="FFFF00"/>
              </a:gs>
              <a:gs pos="44000">
                <a:srgbClr val="C8DD0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757B4B-21BA-49B5-9D85-C006309367B8}"/>
              </a:ext>
            </a:extLst>
          </p:cNvPr>
          <p:cNvSpPr>
            <a:spLocks noChangeAspect="1"/>
          </p:cNvSpPr>
          <p:nvPr/>
        </p:nvSpPr>
        <p:spPr>
          <a:xfrm>
            <a:off x="793127" y="2103355"/>
            <a:ext cx="518814" cy="515375"/>
          </a:xfrm>
          <a:prstGeom prst="ellipse">
            <a:avLst/>
          </a:prstGeom>
          <a:gradFill>
            <a:gsLst>
              <a:gs pos="26000">
                <a:srgbClr val="00D200"/>
              </a:gs>
              <a:gs pos="54000">
                <a:srgbClr val="71FF7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A89D6DB-8DEF-4813-BD88-9139946D4029}"/>
              </a:ext>
            </a:extLst>
          </p:cNvPr>
          <p:cNvSpPr>
            <a:spLocks noChangeAspect="1"/>
          </p:cNvSpPr>
          <p:nvPr/>
        </p:nvSpPr>
        <p:spPr>
          <a:xfrm>
            <a:off x="793127" y="2620563"/>
            <a:ext cx="518814" cy="515375"/>
          </a:xfrm>
          <a:prstGeom prst="ellipse">
            <a:avLst/>
          </a:prstGeom>
          <a:gradFill>
            <a:gsLst>
              <a:gs pos="40000">
                <a:srgbClr val="007830"/>
              </a:gs>
              <a:gs pos="57000">
                <a:srgbClr val="4FFF9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008BC1E-58C0-4632-89D7-892BBB9701C3}"/>
              </a:ext>
            </a:extLst>
          </p:cNvPr>
          <p:cNvSpPr>
            <a:spLocks noChangeAspect="1"/>
          </p:cNvSpPr>
          <p:nvPr/>
        </p:nvSpPr>
        <p:spPr>
          <a:xfrm>
            <a:off x="793127" y="3151175"/>
            <a:ext cx="518814" cy="515375"/>
          </a:xfrm>
          <a:prstGeom prst="ellipse">
            <a:avLst/>
          </a:prstGeom>
          <a:gradFill>
            <a:gsLst>
              <a:gs pos="34000">
                <a:srgbClr val="00A479"/>
              </a:gs>
              <a:gs pos="53000">
                <a:srgbClr val="5DFFD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F5DFA136-03D2-48E5-9D69-7D7F8910736B}"/>
              </a:ext>
            </a:extLst>
          </p:cNvPr>
          <p:cNvSpPr>
            <a:spLocks noChangeAspect="1"/>
          </p:cNvSpPr>
          <p:nvPr/>
        </p:nvSpPr>
        <p:spPr>
          <a:xfrm>
            <a:off x="793127" y="3666550"/>
            <a:ext cx="518814" cy="515375"/>
          </a:xfrm>
          <a:prstGeom prst="ellipse">
            <a:avLst/>
          </a:prstGeom>
          <a:gradFill>
            <a:gsLst>
              <a:gs pos="35000">
                <a:srgbClr val="00DECE">
                  <a:lumMod val="90000"/>
                </a:srgbClr>
              </a:gs>
              <a:gs pos="57000">
                <a:srgbClr val="89FFF7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tham" panose="02000504050000020004" pitchFamily="2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9889856-A3D2-4037-9FB9-8C51AA6DAC32}"/>
              </a:ext>
            </a:extLst>
          </p:cNvPr>
          <p:cNvSpPr>
            <a:spLocks noChangeAspect="1"/>
          </p:cNvSpPr>
          <p:nvPr/>
        </p:nvSpPr>
        <p:spPr>
          <a:xfrm>
            <a:off x="804514" y="4175567"/>
            <a:ext cx="518814" cy="515375"/>
          </a:xfrm>
          <a:prstGeom prst="ellipse">
            <a:avLst/>
          </a:prstGeom>
          <a:gradFill>
            <a:gsLst>
              <a:gs pos="46000">
                <a:srgbClr val="019EFF"/>
              </a:gs>
              <a:gs pos="50000">
                <a:srgbClr val="85D3FF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Eras Demi ITC" panose="020B08050305040208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D61E5D5-F7E5-4928-9BE2-AE3AE10B5E5B}"/>
              </a:ext>
            </a:extLst>
          </p:cNvPr>
          <p:cNvSpPr>
            <a:spLocks noChangeAspect="1"/>
          </p:cNvSpPr>
          <p:nvPr/>
        </p:nvSpPr>
        <p:spPr>
          <a:xfrm>
            <a:off x="793127" y="4682953"/>
            <a:ext cx="518814" cy="515375"/>
          </a:xfrm>
          <a:prstGeom prst="ellipse">
            <a:avLst/>
          </a:prstGeom>
          <a:gradFill>
            <a:gsLst>
              <a:gs pos="41000">
                <a:srgbClr val="3E36E3"/>
              </a:gs>
              <a:gs pos="48000">
                <a:srgbClr val="A5A1F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87A9327-95C8-4216-A9BA-D41BC223E1FC}"/>
              </a:ext>
            </a:extLst>
          </p:cNvPr>
          <p:cNvSpPr>
            <a:spLocks noChangeAspect="1"/>
          </p:cNvSpPr>
          <p:nvPr/>
        </p:nvSpPr>
        <p:spPr>
          <a:xfrm>
            <a:off x="241111" y="1834511"/>
            <a:ext cx="527604" cy="524105"/>
          </a:xfrm>
          <a:prstGeom prst="ellipse">
            <a:avLst/>
          </a:prstGeom>
          <a:gradFill>
            <a:gsLst>
              <a:gs pos="43000">
                <a:srgbClr val="B536DB"/>
              </a:gs>
              <a:gs pos="49000">
                <a:srgbClr val="DB97ED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7F85421-EA0F-4684-9FEE-08CDFDD93597}"/>
              </a:ext>
            </a:extLst>
          </p:cNvPr>
          <p:cNvSpPr>
            <a:spLocks noChangeAspect="1"/>
          </p:cNvSpPr>
          <p:nvPr/>
        </p:nvSpPr>
        <p:spPr>
          <a:xfrm>
            <a:off x="265523" y="2376871"/>
            <a:ext cx="527604" cy="524105"/>
          </a:xfrm>
          <a:prstGeom prst="ellipse">
            <a:avLst/>
          </a:prstGeom>
          <a:gradFill>
            <a:gsLst>
              <a:gs pos="43000">
                <a:srgbClr val="E03890"/>
              </a:gs>
              <a:gs pos="54000">
                <a:srgbClr val="F2ACD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Eras Demi ITC" panose="020B0805030504020804" pitchFamily="34" charset="0"/>
            </a:endParaRPr>
          </a:p>
        </p:txBody>
      </p:sp>
      <p:grpSp>
        <p:nvGrpSpPr>
          <p:cNvPr id="62" name="Handshake2">
            <a:extLst>
              <a:ext uri="{FF2B5EF4-FFF2-40B4-BE49-F238E27FC236}">
                <a16:creationId xmlns:a16="http://schemas.microsoft.com/office/drawing/2014/main" id="{430E68AC-485C-4BB8-BB11-A89429997CD2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6705456" y="6177928"/>
            <a:ext cx="418676" cy="265723"/>
            <a:chOff x="73" y="153"/>
            <a:chExt cx="323" cy="205"/>
          </a:xfrm>
          <a:solidFill>
            <a:schemeClr val="bg1"/>
          </a:solidFill>
        </p:grpSpPr>
        <p:sp>
          <p:nvSpPr>
            <p:cNvPr id="63" name="Handshake2">
              <a:extLst>
                <a:ext uri="{FF2B5EF4-FFF2-40B4-BE49-F238E27FC236}">
                  <a16:creationId xmlns:a16="http://schemas.microsoft.com/office/drawing/2014/main" id="{7EB84C29-3D53-4687-8E79-1CC8858A268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96" y="250"/>
              <a:ext cx="0" cy="1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Handshake2">
              <a:extLst>
                <a:ext uri="{FF2B5EF4-FFF2-40B4-BE49-F238E27FC236}">
                  <a16:creationId xmlns:a16="http://schemas.microsoft.com/office/drawing/2014/main" id="{C4FB187E-91C5-4FDB-93DF-51F04E11EFD4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68" y="154"/>
              <a:ext cx="0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Handshake2">
              <a:extLst>
                <a:ext uri="{FF2B5EF4-FFF2-40B4-BE49-F238E27FC236}">
                  <a16:creationId xmlns:a16="http://schemas.microsoft.com/office/drawing/2014/main" id="{3B523C2A-55D8-49A3-88E6-5EB6DE546F0C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35" y="263"/>
              <a:ext cx="19" cy="24"/>
            </a:xfrm>
            <a:custGeom>
              <a:avLst/>
              <a:gdLst>
                <a:gd name="T0" fmla="*/ 1 w 49"/>
                <a:gd name="T1" fmla="*/ 39 h 62"/>
                <a:gd name="T2" fmla="*/ 31 w 49"/>
                <a:gd name="T3" fmla="*/ 1 h 62"/>
                <a:gd name="T4" fmla="*/ 33 w 49"/>
                <a:gd name="T5" fmla="*/ 0 h 62"/>
                <a:gd name="T6" fmla="*/ 9 w 49"/>
                <a:gd name="T7" fmla="*/ 62 h 62"/>
                <a:gd name="T8" fmla="*/ 1 w 49"/>
                <a:gd name="T9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2">
                  <a:moveTo>
                    <a:pt x="1" y="39"/>
                  </a:moveTo>
                  <a:cubicBezTo>
                    <a:pt x="0" y="22"/>
                    <a:pt x="14" y="10"/>
                    <a:pt x="31" y="1"/>
                  </a:cubicBezTo>
                  <a:cubicBezTo>
                    <a:pt x="32" y="1"/>
                    <a:pt x="33" y="0"/>
                    <a:pt x="33" y="0"/>
                  </a:cubicBezTo>
                  <a:cubicBezTo>
                    <a:pt x="49" y="22"/>
                    <a:pt x="36" y="55"/>
                    <a:pt x="9" y="62"/>
                  </a:cubicBezTo>
                  <a:cubicBezTo>
                    <a:pt x="9" y="62"/>
                    <a:pt x="2" y="45"/>
                    <a:pt x="1" y="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Handshake2">
              <a:extLst>
                <a:ext uri="{FF2B5EF4-FFF2-40B4-BE49-F238E27FC236}">
                  <a16:creationId xmlns:a16="http://schemas.microsoft.com/office/drawing/2014/main" id="{F7F2708E-243F-495D-B66C-01C1F3A27450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03" y="265"/>
              <a:ext cx="32" cy="48"/>
            </a:xfrm>
            <a:custGeom>
              <a:avLst/>
              <a:gdLst>
                <a:gd name="T0" fmla="*/ 42 w 87"/>
                <a:gd name="T1" fmla="*/ 117 h 127"/>
                <a:gd name="T2" fmla="*/ 1 w 87"/>
                <a:gd name="T3" fmla="*/ 54 h 127"/>
                <a:gd name="T4" fmla="*/ 12 w 87"/>
                <a:gd name="T5" fmla="*/ 26 h 127"/>
                <a:gd name="T6" fmla="*/ 69 w 87"/>
                <a:gd name="T7" fmla="*/ 44 h 127"/>
                <a:gd name="T8" fmla="*/ 87 w 87"/>
                <a:gd name="T9" fmla="*/ 88 h 127"/>
                <a:gd name="T10" fmla="*/ 42 w 87"/>
                <a:gd name="T11" fmla="*/ 11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27">
                  <a:moveTo>
                    <a:pt x="42" y="117"/>
                  </a:moveTo>
                  <a:cubicBezTo>
                    <a:pt x="25" y="109"/>
                    <a:pt x="3" y="74"/>
                    <a:pt x="1" y="54"/>
                  </a:cubicBezTo>
                  <a:cubicBezTo>
                    <a:pt x="0" y="46"/>
                    <a:pt x="2" y="33"/>
                    <a:pt x="12" y="26"/>
                  </a:cubicBezTo>
                  <a:cubicBezTo>
                    <a:pt x="45" y="0"/>
                    <a:pt x="62" y="30"/>
                    <a:pt x="69" y="44"/>
                  </a:cubicBezTo>
                  <a:cubicBezTo>
                    <a:pt x="69" y="44"/>
                    <a:pt x="87" y="76"/>
                    <a:pt x="87" y="88"/>
                  </a:cubicBezTo>
                  <a:cubicBezTo>
                    <a:pt x="87" y="106"/>
                    <a:pt x="60" y="127"/>
                    <a:pt x="42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Handshake2">
              <a:extLst>
                <a:ext uri="{FF2B5EF4-FFF2-40B4-BE49-F238E27FC236}">
                  <a16:creationId xmlns:a16="http://schemas.microsoft.com/office/drawing/2014/main" id="{B3E9EF2E-528B-4AC4-BC1E-4E7CFB6D172D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92" y="278"/>
              <a:ext cx="2" cy="4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12 h 12"/>
                <a:gd name="T4" fmla="*/ 4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2" y="5"/>
                    <a:pt x="2" y="9"/>
                    <a:pt x="0" y="12"/>
                  </a:cubicBezTo>
                  <a:cubicBezTo>
                    <a:pt x="0" y="8"/>
                    <a:pt x="2" y="5"/>
                    <a:pt x="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Handshake2">
              <a:extLst>
                <a:ext uri="{FF2B5EF4-FFF2-40B4-BE49-F238E27FC236}">
                  <a16:creationId xmlns:a16="http://schemas.microsoft.com/office/drawing/2014/main" id="{EDEF4103-AD09-4552-A3BA-0BDD7B0927B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88" y="282"/>
              <a:ext cx="4" cy="1"/>
            </a:xfrm>
            <a:custGeom>
              <a:avLst/>
              <a:gdLst>
                <a:gd name="T0" fmla="*/ 11 w 11"/>
                <a:gd name="T1" fmla="*/ 2 h 2"/>
                <a:gd name="T2" fmla="*/ 0 w 11"/>
                <a:gd name="T3" fmla="*/ 0 h 2"/>
                <a:gd name="T4" fmla="*/ 11 w 1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cubicBezTo>
                    <a:pt x="8" y="2"/>
                    <a:pt x="5" y="1"/>
                    <a:pt x="0" y="0"/>
                  </a:cubicBezTo>
                  <a:cubicBezTo>
                    <a:pt x="6" y="0"/>
                    <a:pt x="10" y="1"/>
                    <a:pt x="11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Handshake2">
              <a:extLst>
                <a:ext uri="{FF2B5EF4-FFF2-40B4-BE49-F238E27FC236}">
                  <a16:creationId xmlns:a16="http://schemas.microsoft.com/office/drawing/2014/main" id="{DF00FE71-D24F-4868-B73A-73F68D43527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3" y="153"/>
              <a:ext cx="223" cy="139"/>
            </a:xfrm>
            <a:custGeom>
              <a:avLst/>
              <a:gdLst>
                <a:gd name="T0" fmla="*/ 578 w 595"/>
                <a:gd name="T1" fmla="*/ 145 h 371"/>
                <a:gd name="T2" fmla="*/ 404 w 595"/>
                <a:gd name="T3" fmla="*/ 96 h 371"/>
                <a:gd name="T4" fmla="*/ 201 w 595"/>
                <a:gd name="T5" fmla="*/ 264 h 371"/>
                <a:gd name="T6" fmla="*/ 123 w 595"/>
                <a:gd name="T7" fmla="*/ 365 h 371"/>
                <a:gd name="T8" fmla="*/ 42 w 595"/>
                <a:gd name="T9" fmla="*/ 353 h 371"/>
                <a:gd name="T10" fmla="*/ 0 w 595"/>
                <a:gd name="T11" fmla="*/ 342 h 371"/>
                <a:gd name="T12" fmla="*/ 23 w 595"/>
                <a:gd name="T13" fmla="*/ 279 h 371"/>
                <a:gd name="T14" fmla="*/ 104 w 595"/>
                <a:gd name="T15" fmla="*/ 76 h 371"/>
                <a:gd name="T16" fmla="*/ 125 w 595"/>
                <a:gd name="T17" fmla="*/ 86 h 371"/>
                <a:gd name="T18" fmla="*/ 290 w 595"/>
                <a:gd name="T19" fmla="*/ 86 h 371"/>
                <a:gd name="T20" fmla="*/ 416 w 595"/>
                <a:gd name="T21" fmla="*/ 6 h 371"/>
                <a:gd name="T22" fmla="*/ 578 w 595"/>
                <a:gd name="T23" fmla="*/ 1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371">
                  <a:moveTo>
                    <a:pt x="578" y="145"/>
                  </a:moveTo>
                  <a:cubicBezTo>
                    <a:pt x="553" y="208"/>
                    <a:pt x="434" y="81"/>
                    <a:pt x="404" y="96"/>
                  </a:cubicBezTo>
                  <a:cubicBezTo>
                    <a:pt x="382" y="106"/>
                    <a:pt x="218" y="250"/>
                    <a:pt x="201" y="264"/>
                  </a:cubicBezTo>
                  <a:cubicBezTo>
                    <a:pt x="116" y="336"/>
                    <a:pt x="128" y="363"/>
                    <a:pt x="123" y="365"/>
                  </a:cubicBezTo>
                  <a:cubicBezTo>
                    <a:pt x="124" y="364"/>
                    <a:pt x="101" y="371"/>
                    <a:pt x="42" y="353"/>
                  </a:cubicBezTo>
                  <a:cubicBezTo>
                    <a:pt x="27" y="348"/>
                    <a:pt x="13" y="344"/>
                    <a:pt x="0" y="342"/>
                  </a:cubicBezTo>
                  <a:cubicBezTo>
                    <a:pt x="7" y="321"/>
                    <a:pt x="14" y="300"/>
                    <a:pt x="23" y="279"/>
                  </a:cubicBezTo>
                  <a:cubicBezTo>
                    <a:pt x="49" y="216"/>
                    <a:pt x="75" y="142"/>
                    <a:pt x="104" y="76"/>
                  </a:cubicBezTo>
                  <a:cubicBezTo>
                    <a:pt x="111" y="79"/>
                    <a:pt x="118" y="83"/>
                    <a:pt x="125" y="86"/>
                  </a:cubicBezTo>
                  <a:cubicBezTo>
                    <a:pt x="177" y="111"/>
                    <a:pt x="241" y="143"/>
                    <a:pt x="290" y="86"/>
                  </a:cubicBezTo>
                  <a:cubicBezTo>
                    <a:pt x="318" y="54"/>
                    <a:pt x="371" y="11"/>
                    <a:pt x="416" y="6"/>
                  </a:cubicBezTo>
                  <a:cubicBezTo>
                    <a:pt x="454" y="0"/>
                    <a:pt x="595" y="120"/>
                    <a:pt x="578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Handshake2">
              <a:extLst>
                <a:ext uri="{FF2B5EF4-FFF2-40B4-BE49-F238E27FC236}">
                  <a16:creationId xmlns:a16="http://schemas.microsoft.com/office/drawing/2014/main" id="{AB677B40-B722-41B8-A012-9CB73D2B365C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75" y="290"/>
              <a:ext cx="38" cy="42"/>
            </a:xfrm>
            <a:custGeom>
              <a:avLst/>
              <a:gdLst>
                <a:gd name="T0" fmla="*/ 13 w 102"/>
                <a:gd name="T1" fmla="*/ 12 h 112"/>
                <a:gd name="T2" fmla="*/ 49 w 102"/>
                <a:gd name="T3" fmla="*/ 5 h 112"/>
                <a:gd name="T4" fmla="*/ 96 w 102"/>
                <a:gd name="T5" fmla="*/ 59 h 112"/>
                <a:gd name="T6" fmla="*/ 45 w 102"/>
                <a:gd name="T7" fmla="*/ 101 h 112"/>
                <a:gd name="T8" fmla="*/ 6 w 102"/>
                <a:gd name="T9" fmla="*/ 61 h 112"/>
                <a:gd name="T10" fmla="*/ 13 w 102"/>
                <a:gd name="T11" fmla="*/ 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12">
                  <a:moveTo>
                    <a:pt x="13" y="12"/>
                  </a:moveTo>
                  <a:cubicBezTo>
                    <a:pt x="27" y="0"/>
                    <a:pt x="41" y="1"/>
                    <a:pt x="49" y="5"/>
                  </a:cubicBezTo>
                  <a:cubicBezTo>
                    <a:pt x="74" y="15"/>
                    <a:pt x="96" y="59"/>
                    <a:pt x="96" y="59"/>
                  </a:cubicBezTo>
                  <a:cubicBezTo>
                    <a:pt x="102" y="89"/>
                    <a:pt x="72" y="112"/>
                    <a:pt x="45" y="101"/>
                  </a:cubicBezTo>
                  <a:cubicBezTo>
                    <a:pt x="32" y="95"/>
                    <a:pt x="12" y="73"/>
                    <a:pt x="6" y="61"/>
                  </a:cubicBezTo>
                  <a:cubicBezTo>
                    <a:pt x="1" y="50"/>
                    <a:pt x="0" y="22"/>
                    <a:pt x="13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Handshake2">
              <a:extLst>
                <a:ext uri="{FF2B5EF4-FFF2-40B4-BE49-F238E27FC236}">
                  <a16:creationId xmlns:a16="http://schemas.microsoft.com/office/drawing/2014/main" id="{2DB5B69E-DB02-4CEA-AF5F-A735342F7986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7" y="316"/>
              <a:ext cx="34" cy="37"/>
            </a:xfrm>
            <a:custGeom>
              <a:avLst/>
              <a:gdLst>
                <a:gd name="T0" fmla="*/ 81 w 90"/>
                <a:gd name="T1" fmla="*/ 51 h 99"/>
                <a:gd name="T2" fmla="*/ 17 w 90"/>
                <a:gd name="T3" fmla="*/ 84 h 99"/>
                <a:gd name="T4" fmla="*/ 17 w 90"/>
                <a:gd name="T5" fmla="*/ 84 h 99"/>
                <a:gd name="T6" fmla="*/ 15 w 90"/>
                <a:gd name="T7" fmla="*/ 81 h 99"/>
                <a:gd name="T8" fmla="*/ 6 w 90"/>
                <a:gd name="T9" fmla="*/ 61 h 99"/>
                <a:gd name="T10" fmla="*/ 21 w 90"/>
                <a:gd name="T11" fmla="*/ 19 h 99"/>
                <a:gd name="T12" fmla="*/ 81 w 90"/>
                <a:gd name="T13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9">
                  <a:moveTo>
                    <a:pt x="81" y="51"/>
                  </a:moveTo>
                  <a:cubicBezTo>
                    <a:pt x="90" y="75"/>
                    <a:pt x="54" y="99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2"/>
                    <a:pt x="15" y="81"/>
                  </a:cubicBezTo>
                  <a:cubicBezTo>
                    <a:pt x="13" y="76"/>
                    <a:pt x="6" y="67"/>
                    <a:pt x="6" y="61"/>
                  </a:cubicBezTo>
                  <a:cubicBezTo>
                    <a:pt x="0" y="43"/>
                    <a:pt x="12" y="28"/>
                    <a:pt x="21" y="19"/>
                  </a:cubicBezTo>
                  <a:cubicBezTo>
                    <a:pt x="37" y="0"/>
                    <a:pt x="76" y="36"/>
                    <a:pt x="81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Handshake2">
              <a:extLst>
                <a:ext uri="{FF2B5EF4-FFF2-40B4-BE49-F238E27FC236}">
                  <a16:creationId xmlns:a16="http://schemas.microsoft.com/office/drawing/2014/main" id="{8A8CF1C3-2AC1-4445-A993-FF4B1BE9E25F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18" y="158"/>
              <a:ext cx="274" cy="200"/>
            </a:xfrm>
            <a:custGeom>
              <a:avLst/>
              <a:gdLst>
                <a:gd name="T0" fmla="*/ 372 w 731"/>
                <a:gd name="T1" fmla="*/ 421 h 531"/>
                <a:gd name="T2" fmla="*/ 357 w 731"/>
                <a:gd name="T3" fmla="*/ 463 h 531"/>
                <a:gd name="T4" fmla="*/ 361 w 731"/>
                <a:gd name="T5" fmla="*/ 485 h 531"/>
                <a:gd name="T6" fmla="*/ 288 w 731"/>
                <a:gd name="T7" fmla="*/ 467 h 531"/>
                <a:gd name="T8" fmla="*/ 386 w 731"/>
                <a:gd name="T9" fmla="*/ 339 h 531"/>
                <a:gd name="T10" fmla="*/ 268 w 731"/>
                <a:gd name="T11" fmla="*/ 451 h 531"/>
                <a:gd name="T12" fmla="*/ 205 w 731"/>
                <a:gd name="T13" fmla="*/ 457 h 531"/>
                <a:gd name="T14" fmla="*/ 195 w 731"/>
                <a:gd name="T15" fmla="*/ 436 h 531"/>
                <a:gd name="T16" fmla="*/ 342 w 731"/>
                <a:gd name="T17" fmla="*/ 290 h 531"/>
                <a:gd name="T18" fmla="*/ 181 w 731"/>
                <a:gd name="T19" fmla="*/ 420 h 531"/>
                <a:gd name="T20" fmla="*/ 155 w 731"/>
                <a:gd name="T21" fmla="*/ 424 h 531"/>
                <a:gd name="T22" fmla="*/ 127 w 731"/>
                <a:gd name="T23" fmla="*/ 415 h 531"/>
                <a:gd name="T24" fmla="*/ 124 w 731"/>
                <a:gd name="T25" fmla="*/ 376 h 531"/>
                <a:gd name="T26" fmla="*/ 271 w 731"/>
                <a:gd name="T27" fmla="*/ 237 h 531"/>
                <a:gd name="T28" fmla="*/ 192 w 731"/>
                <a:gd name="T29" fmla="*/ 303 h 531"/>
                <a:gd name="T30" fmla="*/ 78 w 731"/>
                <a:gd name="T31" fmla="*/ 376 h 531"/>
                <a:gd name="T32" fmla="*/ 43 w 731"/>
                <a:gd name="T33" fmla="*/ 369 h 531"/>
                <a:gd name="T34" fmla="*/ 35 w 731"/>
                <a:gd name="T35" fmla="*/ 359 h 531"/>
                <a:gd name="T36" fmla="*/ 291 w 731"/>
                <a:gd name="T37" fmla="*/ 104 h 531"/>
                <a:gd name="T38" fmla="*/ 432 w 731"/>
                <a:gd name="T39" fmla="*/ 172 h 531"/>
                <a:gd name="T40" fmla="*/ 490 w 731"/>
                <a:gd name="T41" fmla="*/ 130 h 531"/>
                <a:gd name="T42" fmla="*/ 384 w 731"/>
                <a:gd name="T43" fmla="*/ 9 h 531"/>
                <a:gd name="T44" fmla="*/ 500 w 731"/>
                <a:gd name="T45" fmla="*/ 18 h 531"/>
                <a:gd name="T46" fmla="*/ 573 w 731"/>
                <a:gd name="T47" fmla="*/ 21 h 531"/>
                <a:gd name="T48" fmla="*/ 665 w 731"/>
                <a:gd name="T49" fmla="*/ 0 h 531"/>
                <a:gd name="T50" fmla="*/ 725 w 731"/>
                <a:gd name="T51" fmla="*/ 238 h 531"/>
                <a:gd name="T52" fmla="*/ 597 w 731"/>
                <a:gd name="T53" fmla="*/ 255 h 531"/>
                <a:gd name="T54" fmla="*/ 560 w 731"/>
                <a:gd name="T55" fmla="*/ 293 h 531"/>
                <a:gd name="T56" fmla="*/ 487 w 731"/>
                <a:gd name="T57" fmla="*/ 285 h 531"/>
                <a:gd name="T58" fmla="*/ 471 w 731"/>
                <a:gd name="T59" fmla="*/ 320 h 531"/>
                <a:gd name="T60" fmla="*/ 468 w 731"/>
                <a:gd name="T61" fmla="*/ 332 h 531"/>
                <a:gd name="T62" fmla="*/ 468 w 731"/>
                <a:gd name="T63" fmla="*/ 332 h 531"/>
                <a:gd name="T64" fmla="*/ 468 w 731"/>
                <a:gd name="T65" fmla="*/ 333 h 531"/>
                <a:gd name="T66" fmla="*/ 457 w 731"/>
                <a:gd name="T67" fmla="*/ 331 h 531"/>
                <a:gd name="T68" fmla="*/ 457 w 731"/>
                <a:gd name="T69" fmla="*/ 331 h 531"/>
                <a:gd name="T70" fmla="*/ 456 w 731"/>
                <a:gd name="T71" fmla="*/ 331 h 531"/>
                <a:gd name="T72" fmla="*/ 415 w 731"/>
                <a:gd name="T73" fmla="*/ 338 h 531"/>
                <a:gd name="T74" fmla="*/ 405 w 731"/>
                <a:gd name="T75" fmla="*/ 391 h 531"/>
                <a:gd name="T76" fmla="*/ 408 w 731"/>
                <a:gd name="T77" fmla="*/ 409 h 531"/>
                <a:gd name="T78" fmla="*/ 372 w 731"/>
                <a:gd name="T79" fmla="*/ 42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31" h="531">
                  <a:moveTo>
                    <a:pt x="372" y="421"/>
                  </a:moveTo>
                  <a:cubicBezTo>
                    <a:pt x="356" y="436"/>
                    <a:pt x="356" y="445"/>
                    <a:pt x="357" y="463"/>
                  </a:cubicBezTo>
                  <a:cubicBezTo>
                    <a:pt x="357" y="467"/>
                    <a:pt x="360" y="481"/>
                    <a:pt x="361" y="485"/>
                  </a:cubicBezTo>
                  <a:cubicBezTo>
                    <a:pt x="285" y="531"/>
                    <a:pt x="286" y="468"/>
                    <a:pt x="288" y="467"/>
                  </a:cubicBezTo>
                  <a:cubicBezTo>
                    <a:pt x="373" y="386"/>
                    <a:pt x="386" y="339"/>
                    <a:pt x="386" y="339"/>
                  </a:cubicBezTo>
                  <a:cubicBezTo>
                    <a:pt x="380" y="342"/>
                    <a:pt x="302" y="434"/>
                    <a:pt x="268" y="451"/>
                  </a:cubicBezTo>
                  <a:cubicBezTo>
                    <a:pt x="234" y="468"/>
                    <a:pt x="218" y="464"/>
                    <a:pt x="205" y="457"/>
                  </a:cubicBezTo>
                  <a:cubicBezTo>
                    <a:pt x="200" y="453"/>
                    <a:pt x="196" y="446"/>
                    <a:pt x="195" y="436"/>
                  </a:cubicBezTo>
                  <a:cubicBezTo>
                    <a:pt x="251" y="417"/>
                    <a:pt x="340" y="307"/>
                    <a:pt x="342" y="290"/>
                  </a:cubicBezTo>
                  <a:cubicBezTo>
                    <a:pt x="342" y="290"/>
                    <a:pt x="235" y="406"/>
                    <a:pt x="181" y="420"/>
                  </a:cubicBezTo>
                  <a:cubicBezTo>
                    <a:pt x="171" y="423"/>
                    <a:pt x="163" y="424"/>
                    <a:pt x="155" y="424"/>
                  </a:cubicBezTo>
                  <a:cubicBezTo>
                    <a:pt x="142" y="424"/>
                    <a:pt x="132" y="421"/>
                    <a:pt x="127" y="415"/>
                  </a:cubicBezTo>
                  <a:cubicBezTo>
                    <a:pt x="121" y="408"/>
                    <a:pt x="120" y="395"/>
                    <a:pt x="124" y="376"/>
                  </a:cubicBezTo>
                  <a:cubicBezTo>
                    <a:pt x="197" y="332"/>
                    <a:pt x="280" y="244"/>
                    <a:pt x="271" y="237"/>
                  </a:cubicBezTo>
                  <a:lnTo>
                    <a:pt x="192" y="303"/>
                  </a:lnTo>
                  <a:cubicBezTo>
                    <a:pt x="155" y="331"/>
                    <a:pt x="80" y="379"/>
                    <a:pt x="78" y="376"/>
                  </a:cubicBezTo>
                  <a:cubicBezTo>
                    <a:pt x="66" y="381"/>
                    <a:pt x="57" y="378"/>
                    <a:pt x="43" y="369"/>
                  </a:cubicBezTo>
                  <a:cubicBezTo>
                    <a:pt x="39" y="366"/>
                    <a:pt x="36" y="363"/>
                    <a:pt x="35" y="359"/>
                  </a:cubicBezTo>
                  <a:cubicBezTo>
                    <a:pt x="0" y="322"/>
                    <a:pt x="136" y="251"/>
                    <a:pt x="291" y="104"/>
                  </a:cubicBezTo>
                  <a:cubicBezTo>
                    <a:pt x="316" y="113"/>
                    <a:pt x="380" y="174"/>
                    <a:pt x="432" y="172"/>
                  </a:cubicBezTo>
                  <a:cubicBezTo>
                    <a:pt x="454" y="172"/>
                    <a:pt x="490" y="151"/>
                    <a:pt x="490" y="130"/>
                  </a:cubicBezTo>
                  <a:cubicBezTo>
                    <a:pt x="491" y="99"/>
                    <a:pt x="418" y="36"/>
                    <a:pt x="384" y="9"/>
                  </a:cubicBezTo>
                  <a:cubicBezTo>
                    <a:pt x="411" y="8"/>
                    <a:pt x="469" y="16"/>
                    <a:pt x="500" y="18"/>
                  </a:cubicBezTo>
                  <a:cubicBezTo>
                    <a:pt x="524" y="20"/>
                    <a:pt x="549" y="21"/>
                    <a:pt x="573" y="21"/>
                  </a:cubicBezTo>
                  <a:cubicBezTo>
                    <a:pt x="609" y="21"/>
                    <a:pt x="637" y="15"/>
                    <a:pt x="665" y="0"/>
                  </a:cubicBezTo>
                  <a:cubicBezTo>
                    <a:pt x="690" y="57"/>
                    <a:pt x="731" y="238"/>
                    <a:pt x="725" y="238"/>
                  </a:cubicBezTo>
                  <a:cubicBezTo>
                    <a:pt x="686" y="237"/>
                    <a:pt x="633" y="236"/>
                    <a:pt x="597" y="255"/>
                  </a:cubicBezTo>
                  <a:cubicBezTo>
                    <a:pt x="579" y="264"/>
                    <a:pt x="566" y="276"/>
                    <a:pt x="560" y="293"/>
                  </a:cubicBezTo>
                  <a:cubicBezTo>
                    <a:pt x="536" y="272"/>
                    <a:pt x="509" y="269"/>
                    <a:pt x="487" y="285"/>
                  </a:cubicBezTo>
                  <a:cubicBezTo>
                    <a:pt x="478" y="292"/>
                    <a:pt x="474" y="308"/>
                    <a:pt x="471" y="320"/>
                  </a:cubicBezTo>
                  <a:cubicBezTo>
                    <a:pt x="469" y="324"/>
                    <a:pt x="468" y="328"/>
                    <a:pt x="468" y="332"/>
                  </a:cubicBezTo>
                  <a:lnTo>
                    <a:pt x="468" y="332"/>
                  </a:lnTo>
                  <a:cubicBezTo>
                    <a:pt x="468" y="332"/>
                    <a:pt x="468" y="333"/>
                    <a:pt x="468" y="333"/>
                  </a:cubicBezTo>
                  <a:cubicBezTo>
                    <a:pt x="467" y="332"/>
                    <a:pt x="463" y="331"/>
                    <a:pt x="457" y="331"/>
                  </a:cubicBezTo>
                  <a:lnTo>
                    <a:pt x="457" y="331"/>
                  </a:lnTo>
                  <a:lnTo>
                    <a:pt x="456" y="331"/>
                  </a:lnTo>
                  <a:cubicBezTo>
                    <a:pt x="445" y="329"/>
                    <a:pt x="429" y="327"/>
                    <a:pt x="415" y="338"/>
                  </a:cubicBezTo>
                  <a:cubicBezTo>
                    <a:pt x="398" y="351"/>
                    <a:pt x="399" y="372"/>
                    <a:pt x="405" y="391"/>
                  </a:cubicBezTo>
                  <a:cubicBezTo>
                    <a:pt x="406" y="397"/>
                    <a:pt x="406" y="403"/>
                    <a:pt x="408" y="409"/>
                  </a:cubicBezTo>
                  <a:cubicBezTo>
                    <a:pt x="401" y="410"/>
                    <a:pt x="377" y="417"/>
                    <a:pt x="372" y="4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31187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75000"/>
              </a:schemeClr>
            </a:gs>
            <a:gs pos="36000">
              <a:schemeClr val="accent1">
                <a:lumMod val="61000"/>
              </a:schemeClr>
            </a:gs>
            <a:gs pos="59000">
              <a:schemeClr val="accent1">
                <a:lumMod val="35000"/>
              </a:schemeClr>
            </a:gs>
            <a:gs pos="29000">
              <a:schemeClr val="accent1">
                <a:lumMod val="4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roup 490">
            <a:extLst>
              <a:ext uri="{FF2B5EF4-FFF2-40B4-BE49-F238E27FC236}">
                <a16:creationId xmlns:a16="http://schemas.microsoft.com/office/drawing/2014/main" id="{8D9D1E17-53D7-4599-AB04-6DBECEE5C646}"/>
              </a:ext>
            </a:extLst>
          </p:cNvPr>
          <p:cNvGrpSpPr/>
          <p:nvPr/>
        </p:nvGrpSpPr>
        <p:grpSpPr>
          <a:xfrm>
            <a:off x="3345737" y="698448"/>
            <a:ext cx="5472514" cy="5469228"/>
            <a:chOff x="3345737" y="698448"/>
            <a:chExt cx="5472514" cy="5469228"/>
          </a:xfrm>
        </p:grpSpPr>
        <p:grpSp>
          <p:nvGrpSpPr>
            <p:cNvPr id="479" name="Group 478">
              <a:extLst>
                <a:ext uri="{FF2B5EF4-FFF2-40B4-BE49-F238E27FC236}">
                  <a16:creationId xmlns:a16="http://schemas.microsoft.com/office/drawing/2014/main" id="{7CCCA38D-03EF-4470-AB09-1ACB3D4BBE1B}"/>
                </a:ext>
              </a:extLst>
            </p:cNvPr>
            <p:cNvGrpSpPr/>
            <p:nvPr/>
          </p:nvGrpSpPr>
          <p:grpSpPr>
            <a:xfrm>
              <a:off x="3345737" y="698448"/>
              <a:ext cx="5472514" cy="5469228"/>
              <a:chOff x="3345737" y="698448"/>
              <a:chExt cx="5472514" cy="5469228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368923EB-5439-43F4-9560-AEF1266213A1}"/>
                  </a:ext>
                </a:extLst>
              </p:cNvPr>
              <p:cNvSpPr/>
              <p:nvPr/>
            </p:nvSpPr>
            <p:spPr>
              <a:xfrm rot="9900000">
                <a:off x="5513985" y="844853"/>
                <a:ext cx="1184406" cy="403175"/>
              </a:xfrm>
              <a:custGeom>
                <a:avLst/>
                <a:gdLst>
                  <a:gd name="connsiteX0" fmla="*/ 578270 w 1184406"/>
                  <a:gd name="connsiteY0" fmla="*/ 320464 h 403175"/>
                  <a:gd name="connsiteX1" fmla="*/ 103236 w 1184406"/>
                  <a:gd name="connsiteY1" fmla="*/ 140466 h 403175"/>
                  <a:gd name="connsiteX2" fmla="*/ 0 w 1184406"/>
                  <a:gd name="connsiteY2" fmla="*/ 82270 h 403175"/>
                  <a:gd name="connsiteX3" fmla="*/ 47498 w 1184406"/>
                  <a:gd name="connsiteY3" fmla="*/ 0 h 403175"/>
                  <a:gd name="connsiteX4" fmla="*/ 145856 w 1184406"/>
                  <a:gd name="connsiteY4" fmla="*/ 55444 h 403175"/>
                  <a:gd name="connsiteX5" fmla="*/ 602880 w 1184406"/>
                  <a:gd name="connsiteY5" fmla="*/ 228618 h 403175"/>
                  <a:gd name="connsiteX6" fmla="*/ 1085261 w 1184406"/>
                  <a:gd name="connsiteY6" fmla="*/ 307157 h 403175"/>
                  <a:gd name="connsiteX7" fmla="*/ 1184406 w 1184406"/>
                  <a:gd name="connsiteY7" fmla="*/ 308178 h 403175"/>
                  <a:gd name="connsiteX8" fmla="*/ 1184406 w 1184406"/>
                  <a:gd name="connsiteY8" fmla="*/ 403175 h 403175"/>
                  <a:gd name="connsiteX9" fmla="*/ 1079661 w 1184406"/>
                  <a:gd name="connsiteY9" fmla="*/ 402098 h 403175"/>
                  <a:gd name="connsiteX10" fmla="*/ 578270 w 1184406"/>
                  <a:gd name="connsiteY10" fmla="*/ 320464 h 4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84406" h="403175">
                    <a:moveTo>
                      <a:pt x="578270" y="320464"/>
                    </a:moveTo>
                    <a:cubicBezTo>
                      <a:pt x="411033" y="275653"/>
                      <a:pt x="252292" y="214967"/>
                      <a:pt x="103236" y="140466"/>
                    </a:cubicBezTo>
                    <a:lnTo>
                      <a:pt x="0" y="82270"/>
                    </a:lnTo>
                    <a:lnTo>
                      <a:pt x="47498" y="0"/>
                    </a:lnTo>
                    <a:lnTo>
                      <a:pt x="145856" y="55444"/>
                    </a:lnTo>
                    <a:cubicBezTo>
                      <a:pt x="289261" y="127122"/>
                      <a:pt x="441984" y="185506"/>
                      <a:pt x="602880" y="228618"/>
                    </a:cubicBezTo>
                    <a:cubicBezTo>
                      <a:pt x="763776" y="271730"/>
                      <a:pt x="925230" y="297529"/>
                      <a:pt x="1085261" y="307157"/>
                    </a:cubicBezTo>
                    <a:lnTo>
                      <a:pt x="1184406" y="308178"/>
                    </a:lnTo>
                    <a:lnTo>
                      <a:pt x="1184406" y="403175"/>
                    </a:lnTo>
                    <a:lnTo>
                      <a:pt x="1079661" y="402098"/>
                    </a:lnTo>
                    <a:cubicBezTo>
                      <a:pt x="913323" y="392090"/>
                      <a:pt x="745507" y="365275"/>
                      <a:pt x="578270" y="320464"/>
                    </a:cubicBezTo>
                    <a:close/>
                  </a:path>
                </a:pathLst>
              </a:custGeom>
              <a:gradFill>
                <a:gsLst>
                  <a:gs pos="25000">
                    <a:srgbClr val="B536DB"/>
                  </a:gs>
                  <a:gs pos="69000">
                    <a:srgbClr val="DB97ED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688D716C-86C6-4E7F-BFB0-8615782D79C5}"/>
                  </a:ext>
                </a:extLst>
              </p:cNvPr>
              <p:cNvSpPr/>
              <p:nvPr/>
            </p:nvSpPr>
            <p:spPr>
              <a:xfrm rot="9900000">
                <a:off x="4297768" y="1168454"/>
                <a:ext cx="1189167" cy="396482"/>
              </a:xfrm>
              <a:custGeom>
                <a:avLst/>
                <a:gdLst>
                  <a:gd name="connsiteX0" fmla="*/ 0 w 1189167"/>
                  <a:gd name="connsiteY0" fmla="*/ 395713 h 396482"/>
                  <a:gd name="connsiteX1" fmla="*/ 0 w 1189167"/>
                  <a:gd name="connsiteY1" fmla="*/ 300716 h 396482"/>
                  <a:gd name="connsiteX2" fmla="*/ 71009 w 1189167"/>
                  <a:gd name="connsiteY2" fmla="*/ 301448 h 396482"/>
                  <a:gd name="connsiteX3" fmla="*/ 974892 w 1189167"/>
                  <a:gd name="connsiteY3" fmla="*/ 85859 h 396482"/>
                  <a:gd name="connsiteX4" fmla="*/ 1141623 w 1189167"/>
                  <a:gd name="connsiteY4" fmla="*/ 0 h 396482"/>
                  <a:gd name="connsiteX5" fmla="*/ 1189167 w 1189167"/>
                  <a:gd name="connsiteY5" fmla="*/ 82348 h 396482"/>
                  <a:gd name="connsiteX6" fmla="*/ 1014325 w 1189167"/>
                  <a:gd name="connsiteY6" fmla="*/ 172386 h 396482"/>
                  <a:gd name="connsiteX7" fmla="*/ 74817 w 1189167"/>
                  <a:gd name="connsiteY7" fmla="*/ 396482 h 396482"/>
                  <a:gd name="connsiteX8" fmla="*/ 0 w 1189167"/>
                  <a:gd name="connsiteY8" fmla="*/ 395713 h 396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9167" h="396482">
                    <a:moveTo>
                      <a:pt x="0" y="395713"/>
                    </a:moveTo>
                    <a:lnTo>
                      <a:pt x="0" y="300716"/>
                    </a:lnTo>
                    <a:lnTo>
                      <a:pt x="71009" y="301448"/>
                    </a:lnTo>
                    <a:cubicBezTo>
                      <a:pt x="387235" y="288936"/>
                      <a:pt x="693810" y="214026"/>
                      <a:pt x="974892" y="85859"/>
                    </a:cubicBezTo>
                    <a:lnTo>
                      <a:pt x="1141623" y="0"/>
                    </a:lnTo>
                    <a:lnTo>
                      <a:pt x="1189167" y="82348"/>
                    </a:lnTo>
                    <a:lnTo>
                      <a:pt x="1014325" y="172386"/>
                    </a:lnTo>
                    <a:cubicBezTo>
                      <a:pt x="722164" y="305610"/>
                      <a:pt x="403506" y="383475"/>
                      <a:pt x="74817" y="396482"/>
                    </a:cubicBezTo>
                    <a:lnTo>
                      <a:pt x="0" y="395713"/>
                    </a:lnTo>
                    <a:close/>
                  </a:path>
                </a:pathLst>
              </a:custGeom>
              <a:gradFill>
                <a:gsLst>
                  <a:gs pos="25000">
                    <a:srgbClr val="3E36E3"/>
                  </a:gs>
                  <a:gs pos="69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5E9CBA05-AF75-42E5-AEAA-EACA82660270}"/>
                  </a:ext>
                </a:extLst>
              </p:cNvPr>
              <p:cNvSpPr/>
              <p:nvPr/>
            </p:nvSpPr>
            <p:spPr>
              <a:xfrm rot="9900000">
                <a:off x="6832505" y="903890"/>
                <a:ext cx="914134" cy="915232"/>
              </a:xfrm>
              <a:custGeom>
                <a:avLst/>
                <a:gdLst>
                  <a:gd name="connsiteX0" fmla="*/ 866636 w 914134"/>
                  <a:gd name="connsiteY0" fmla="*/ 915232 h 915232"/>
                  <a:gd name="connsiteX1" fmla="*/ 813443 w 914134"/>
                  <a:gd name="connsiteY1" fmla="*/ 885247 h 915232"/>
                  <a:gd name="connsiteX2" fmla="*/ 111853 w 914134"/>
                  <a:gd name="connsiteY2" fmla="*/ 221420 h 915232"/>
                  <a:gd name="connsiteX3" fmla="*/ 0 w 914134"/>
                  <a:gd name="connsiteY3" fmla="*/ 47544 h 915232"/>
                  <a:gd name="connsiteX4" fmla="*/ 82347 w 914134"/>
                  <a:gd name="connsiteY4" fmla="*/ 0 h 915232"/>
                  <a:gd name="connsiteX5" fmla="*/ 189267 w 914134"/>
                  <a:gd name="connsiteY5" fmla="*/ 166201 h 915232"/>
                  <a:gd name="connsiteX6" fmla="*/ 864258 w 914134"/>
                  <a:gd name="connsiteY6" fmla="*/ 804848 h 915232"/>
                  <a:gd name="connsiteX7" fmla="*/ 914134 w 914134"/>
                  <a:gd name="connsiteY7" fmla="*/ 832963 h 915232"/>
                  <a:gd name="connsiteX8" fmla="*/ 866636 w 914134"/>
                  <a:gd name="connsiteY8" fmla="*/ 915232 h 915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134" h="915232">
                    <a:moveTo>
                      <a:pt x="866636" y="915232"/>
                    </a:moveTo>
                    <a:lnTo>
                      <a:pt x="813443" y="885247"/>
                    </a:lnTo>
                    <a:cubicBezTo>
                      <a:pt x="535294" y="709637"/>
                      <a:pt x="298260" y="482875"/>
                      <a:pt x="111853" y="221420"/>
                    </a:cubicBezTo>
                    <a:lnTo>
                      <a:pt x="0" y="47544"/>
                    </a:lnTo>
                    <a:lnTo>
                      <a:pt x="82347" y="0"/>
                    </a:lnTo>
                    <a:lnTo>
                      <a:pt x="189267" y="166201"/>
                    </a:lnTo>
                    <a:cubicBezTo>
                      <a:pt x="368608" y="417738"/>
                      <a:pt x="596655" y="635899"/>
                      <a:pt x="864258" y="804848"/>
                    </a:cubicBezTo>
                    <a:lnTo>
                      <a:pt x="914134" y="832963"/>
                    </a:lnTo>
                    <a:lnTo>
                      <a:pt x="866636" y="915232"/>
                    </a:lnTo>
                    <a:close/>
                  </a:path>
                </a:pathLst>
              </a:custGeom>
              <a:gradFill>
                <a:gsLst>
                  <a:gs pos="38000">
                    <a:srgbClr val="E03890"/>
                  </a:gs>
                  <a:gs pos="69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3B681814-4BAC-4048-A187-3B6CF826C76F}"/>
                  </a:ext>
                </a:extLst>
              </p:cNvPr>
              <p:cNvSpPr/>
              <p:nvPr/>
            </p:nvSpPr>
            <p:spPr>
              <a:xfrm rot="9900000">
                <a:off x="3557063" y="1771759"/>
                <a:ext cx="922013" cy="916296"/>
              </a:xfrm>
              <a:custGeom>
                <a:avLst/>
                <a:gdLst>
                  <a:gd name="connsiteX0" fmla="*/ 47544 w 922013"/>
                  <a:gd name="connsiteY0" fmla="*/ 916296 h 916296"/>
                  <a:gd name="connsiteX1" fmla="*/ 0 w 922013"/>
                  <a:gd name="connsiteY1" fmla="*/ 833949 h 916296"/>
                  <a:gd name="connsiteX2" fmla="*/ 173931 w 922013"/>
                  <a:gd name="connsiteY2" fmla="*/ 722231 h 916296"/>
                  <a:gd name="connsiteX3" fmla="*/ 812731 w 922013"/>
                  <a:gd name="connsiteY3" fmla="*/ 47880 h 916296"/>
                  <a:gd name="connsiteX4" fmla="*/ 839743 w 922013"/>
                  <a:gd name="connsiteY4" fmla="*/ 0 h 916296"/>
                  <a:gd name="connsiteX5" fmla="*/ 922013 w 922013"/>
                  <a:gd name="connsiteY5" fmla="*/ 47498 h 916296"/>
                  <a:gd name="connsiteX6" fmla="*/ 893129 w 922013"/>
                  <a:gd name="connsiteY6" fmla="*/ 98696 h 916296"/>
                  <a:gd name="connsiteX7" fmla="*/ 229149 w 922013"/>
                  <a:gd name="connsiteY7" fmla="*/ 799643 h 916296"/>
                  <a:gd name="connsiteX8" fmla="*/ 47544 w 922013"/>
                  <a:gd name="connsiteY8" fmla="*/ 916296 h 91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013" h="916296">
                    <a:moveTo>
                      <a:pt x="47544" y="916296"/>
                    </a:moveTo>
                    <a:lnTo>
                      <a:pt x="0" y="833949"/>
                    </a:lnTo>
                    <a:lnTo>
                      <a:pt x="173931" y="722231"/>
                    </a:lnTo>
                    <a:cubicBezTo>
                      <a:pt x="425559" y="543089"/>
                      <a:pt x="643773" y="315260"/>
                      <a:pt x="812731" y="47880"/>
                    </a:cubicBezTo>
                    <a:lnTo>
                      <a:pt x="839743" y="0"/>
                    </a:lnTo>
                    <a:lnTo>
                      <a:pt x="922013" y="47498"/>
                    </a:lnTo>
                    <a:lnTo>
                      <a:pt x="893129" y="98696"/>
                    </a:lnTo>
                    <a:cubicBezTo>
                      <a:pt x="717511" y="376621"/>
                      <a:pt x="490696" y="613437"/>
                      <a:pt x="229149" y="799643"/>
                    </a:cubicBezTo>
                    <a:lnTo>
                      <a:pt x="47544" y="916296"/>
                    </a:lnTo>
                    <a:close/>
                  </a:path>
                </a:pathLst>
              </a:custGeom>
              <a:gradFill>
                <a:gsLst>
                  <a:gs pos="25000">
                    <a:srgbClr val="019EFF"/>
                  </a:gs>
                  <a:gs pos="69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8EF53686-6AC7-4A0B-82AE-AC60F81668D9}"/>
                  </a:ext>
                </a:extLst>
              </p:cNvPr>
              <p:cNvSpPr/>
              <p:nvPr/>
            </p:nvSpPr>
            <p:spPr>
              <a:xfrm rot="9900000">
                <a:off x="7952570" y="1637029"/>
                <a:ext cx="401223" cy="1184362"/>
              </a:xfrm>
              <a:custGeom>
                <a:avLst/>
                <a:gdLst>
                  <a:gd name="connsiteX0" fmla="*/ 318877 w 401223"/>
                  <a:gd name="connsiteY0" fmla="*/ 1184362 h 1184362"/>
                  <a:gd name="connsiteX1" fmla="*/ 224550 w 401223"/>
                  <a:gd name="connsiteY1" fmla="*/ 1001496 h 1184362"/>
                  <a:gd name="connsiteX2" fmla="*/ 0 w 401223"/>
                  <a:gd name="connsiteY2" fmla="*/ 62467 h 1184362"/>
                  <a:gd name="connsiteX3" fmla="*/ 622 w 401223"/>
                  <a:gd name="connsiteY3" fmla="*/ 0 h 1184362"/>
                  <a:gd name="connsiteX4" fmla="*/ 95618 w 401223"/>
                  <a:gd name="connsiteY4" fmla="*/ 1 h 1184362"/>
                  <a:gd name="connsiteX5" fmla="*/ 95035 w 401223"/>
                  <a:gd name="connsiteY5" fmla="*/ 58658 h 1184362"/>
                  <a:gd name="connsiteX6" fmla="*/ 311077 w 401223"/>
                  <a:gd name="connsiteY6" fmla="*/ 962064 h 1184362"/>
                  <a:gd name="connsiteX7" fmla="*/ 401223 w 401223"/>
                  <a:gd name="connsiteY7" fmla="*/ 1136819 h 1184362"/>
                  <a:gd name="connsiteX8" fmla="*/ 318877 w 401223"/>
                  <a:gd name="connsiteY8" fmla="*/ 1184362 h 118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223" h="1184362">
                    <a:moveTo>
                      <a:pt x="318877" y="1184362"/>
                    </a:moveTo>
                    <a:lnTo>
                      <a:pt x="224550" y="1001496"/>
                    </a:lnTo>
                    <a:cubicBezTo>
                      <a:pt x="91147" y="709463"/>
                      <a:pt x="13127" y="390966"/>
                      <a:pt x="0" y="62467"/>
                    </a:cubicBezTo>
                    <a:lnTo>
                      <a:pt x="622" y="0"/>
                    </a:lnTo>
                    <a:lnTo>
                      <a:pt x="95618" y="1"/>
                    </a:lnTo>
                    <a:lnTo>
                      <a:pt x="95035" y="58658"/>
                    </a:lnTo>
                    <a:cubicBezTo>
                      <a:pt x="107666" y="374695"/>
                      <a:pt x="182731" y="681108"/>
                      <a:pt x="311077" y="962064"/>
                    </a:cubicBezTo>
                    <a:lnTo>
                      <a:pt x="401223" y="1136819"/>
                    </a:lnTo>
                    <a:lnTo>
                      <a:pt x="318877" y="1184362"/>
                    </a:lnTo>
                    <a:close/>
                  </a:path>
                </a:pathLst>
              </a:custGeom>
              <a:gradFill>
                <a:gsLst>
                  <a:gs pos="25000">
                    <a:srgbClr val="DA0000"/>
                  </a:gs>
                  <a:gs pos="69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C2EA668B-0889-40C4-92E7-8A341852C02F}"/>
                  </a:ext>
                </a:extLst>
              </p:cNvPr>
              <p:cNvSpPr/>
              <p:nvPr/>
            </p:nvSpPr>
            <p:spPr>
              <a:xfrm rot="9900000">
                <a:off x="3498390" y="2823006"/>
                <a:ext cx="404100" cy="1191370"/>
              </a:xfrm>
              <a:custGeom>
                <a:avLst/>
                <a:gdLst>
                  <a:gd name="connsiteX0" fmla="*/ 82269 w 404100"/>
                  <a:gd name="connsiteY0" fmla="*/ 1191370 h 1191370"/>
                  <a:gd name="connsiteX1" fmla="*/ 0 w 404100"/>
                  <a:gd name="connsiteY1" fmla="*/ 1143872 h 1191370"/>
                  <a:gd name="connsiteX2" fmla="*/ 56525 w 404100"/>
                  <a:gd name="connsiteY2" fmla="*/ 1043678 h 1191370"/>
                  <a:gd name="connsiteX3" fmla="*/ 229642 w 404100"/>
                  <a:gd name="connsiteY3" fmla="*/ 586996 h 1191370"/>
                  <a:gd name="connsiteX4" fmla="*/ 308060 w 404100"/>
                  <a:gd name="connsiteY4" fmla="*/ 104939 h 1191370"/>
                  <a:gd name="connsiteX5" fmla="*/ 309104 w 404100"/>
                  <a:gd name="connsiteY5" fmla="*/ 0 h 1191370"/>
                  <a:gd name="connsiteX6" fmla="*/ 404100 w 404100"/>
                  <a:gd name="connsiteY6" fmla="*/ 0 h 1191370"/>
                  <a:gd name="connsiteX7" fmla="*/ 402999 w 404100"/>
                  <a:gd name="connsiteY7" fmla="*/ 110539 h 1191370"/>
                  <a:gd name="connsiteX8" fmla="*/ 321488 w 404100"/>
                  <a:gd name="connsiteY8" fmla="*/ 611606 h 1191370"/>
                  <a:gd name="connsiteX9" fmla="*/ 141546 w 404100"/>
                  <a:gd name="connsiteY9" fmla="*/ 1086298 h 1191370"/>
                  <a:gd name="connsiteX10" fmla="*/ 82269 w 404100"/>
                  <a:gd name="connsiteY10" fmla="*/ 1191370 h 1191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4100" h="1191370">
                    <a:moveTo>
                      <a:pt x="82269" y="1191370"/>
                    </a:moveTo>
                    <a:lnTo>
                      <a:pt x="0" y="1143872"/>
                    </a:lnTo>
                    <a:lnTo>
                      <a:pt x="56525" y="1043678"/>
                    </a:lnTo>
                    <a:cubicBezTo>
                      <a:pt x="128195" y="900386"/>
                      <a:pt x="186561" y="747778"/>
                      <a:pt x="229642" y="586996"/>
                    </a:cubicBezTo>
                    <a:cubicBezTo>
                      <a:pt x="272724" y="426214"/>
                      <a:pt x="298481" y="264868"/>
                      <a:pt x="308060" y="104939"/>
                    </a:cubicBezTo>
                    <a:lnTo>
                      <a:pt x="309104" y="0"/>
                    </a:lnTo>
                    <a:lnTo>
                      <a:pt x="404100" y="0"/>
                    </a:lnTo>
                    <a:lnTo>
                      <a:pt x="402999" y="110539"/>
                    </a:lnTo>
                    <a:cubicBezTo>
                      <a:pt x="393043" y="276775"/>
                      <a:pt x="366269" y="444483"/>
                      <a:pt x="321488" y="611606"/>
                    </a:cubicBezTo>
                    <a:cubicBezTo>
                      <a:pt x="276708" y="778729"/>
                      <a:pt x="216041" y="937355"/>
                      <a:pt x="141546" y="1086298"/>
                    </a:cubicBezTo>
                    <a:lnTo>
                      <a:pt x="82269" y="1191370"/>
                    </a:lnTo>
                    <a:close/>
                  </a:path>
                </a:pathLst>
              </a:custGeom>
              <a:gradFill>
                <a:gsLst>
                  <a:gs pos="43000">
                    <a:srgbClr val="00C8B9"/>
                  </a:gs>
                  <a:gs pos="69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98AD6C82-0D80-4EC1-9120-6A466F664B01}"/>
                  </a:ext>
                </a:extLst>
              </p:cNvPr>
              <p:cNvSpPr/>
              <p:nvPr/>
            </p:nvSpPr>
            <p:spPr>
              <a:xfrm rot="9900000">
                <a:off x="8279541" y="2847096"/>
                <a:ext cx="397392" cy="1185776"/>
              </a:xfrm>
              <a:custGeom>
                <a:avLst/>
                <a:gdLst>
                  <a:gd name="connsiteX0" fmla="*/ 0 w 397392"/>
                  <a:gd name="connsiteY0" fmla="*/ 1185776 h 1185776"/>
                  <a:gd name="connsiteX1" fmla="*/ 1164 w 397392"/>
                  <a:gd name="connsiteY1" fmla="*/ 1068828 h 1185776"/>
                  <a:gd name="connsiteX2" fmla="*/ 82676 w 397392"/>
                  <a:gd name="connsiteY2" fmla="*/ 567761 h 1185776"/>
                  <a:gd name="connsiteX3" fmla="*/ 262618 w 397392"/>
                  <a:gd name="connsiteY3" fmla="*/ 93069 h 1185776"/>
                  <a:gd name="connsiteX4" fmla="*/ 315123 w 397392"/>
                  <a:gd name="connsiteY4" fmla="*/ 0 h 1185776"/>
                  <a:gd name="connsiteX5" fmla="*/ 397392 w 397392"/>
                  <a:gd name="connsiteY5" fmla="*/ 47498 h 1185776"/>
                  <a:gd name="connsiteX6" fmla="*/ 347638 w 397392"/>
                  <a:gd name="connsiteY6" fmla="*/ 135689 h 1185776"/>
                  <a:gd name="connsiteX7" fmla="*/ 174522 w 397392"/>
                  <a:gd name="connsiteY7" fmla="*/ 592371 h 1185776"/>
                  <a:gd name="connsiteX8" fmla="*/ 96104 w 397392"/>
                  <a:gd name="connsiteY8" fmla="*/ 1074428 h 1185776"/>
                  <a:gd name="connsiteX9" fmla="*/ 94996 w 397392"/>
                  <a:gd name="connsiteY9" fmla="*/ 1185776 h 1185776"/>
                  <a:gd name="connsiteX10" fmla="*/ 0 w 397392"/>
                  <a:gd name="connsiteY10" fmla="*/ 1185776 h 118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7392" h="1185776">
                    <a:moveTo>
                      <a:pt x="0" y="1185776"/>
                    </a:moveTo>
                    <a:lnTo>
                      <a:pt x="1164" y="1068828"/>
                    </a:lnTo>
                    <a:cubicBezTo>
                      <a:pt x="11121" y="902592"/>
                      <a:pt x="37895" y="734884"/>
                      <a:pt x="82676" y="567761"/>
                    </a:cubicBezTo>
                    <a:cubicBezTo>
                      <a:pt x="127456" y="400639"/>
                      <a:pt x="188123" y="242012"/>
                      <a:pt x="262618" y="93069"/>
                    </a:cubicBezTo>
                    <a:lnTo>
                      <a:pt x="315123" y="0"/>
                    </a:lnTo>
                    <a:lnTo>
                      <a:pt x="397392" y="47498"/>
                    </a:lnTo>
                    <a:lnTo>
                      <a:pt x="347638" y="135689"/>
                    </a:lnTo>
                    <a:cubicBezTo>
                      <a:pt x="275969" y="278981"/>
                      <a:pt x="217603" y="431589"/>
                      <a:pt x="174522" y="592371"/>
                    </a:cubicBezTo>
                    <a:cubicBezTo>
                      <a:pt x="131440" y="753154"/>
                      <a:pt x="105682" y="914499"/>
                      <a:pt x="96104" y="1074428"/>
                    </a:cubicBezTo>
                    <a:lnTo>
                      <a:pt x="94996" y="1185776"/>
                    </a:lnTo>
                    <a:lnTo>
                      <a:pt x="0" y="1185776"/>
                    </a:lnTo>
                    <a:close/>
                  </a:path>
                </a:pathLst>
              </a:custGeom>
              <a:gradFill>
                <a:gsLst>
                  <a:gs pos="25000">
                    <a:srgbClr val="FF6600"/>
                  </a:gs>
                  <a:gs pos="69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A8BB82B4-7A98-497B-9253-20190F7BC4D3}"/>
                  </a:ext>
                </a:extLst>
              </p:cNvPr>
              <p:cNvSpPr/>
              <p:nvPr/>
            </p:nvSpPr>
            <p:spPr>
              <a:xfrm rot="9900000">
                <a:off x="7710252" y="4165979"/>
                <a:ext cx="914075" cy="918852"/>
              </a:xfrm>
              <a:custGeom>
                <a:avLst/>
                <a:gdLst>
                  <a:gd name="connsiteX0" fmla="*/ 82269 w 914075"/>
                  <a:gd name="connsiteY0" fmla="*/ 918852 h 918852"/>
                  <a:gd name="connsiteX1" fmla="*/ 0 w 914075"/>
                  <a:gd name="connsiteY1" fmla="*/ 871354 h 918852"/>
                  <a:gd name="connsiteX2" fmla="*/ 35654 w 914075"/>
                  <a:gd name="connsiteY2" fmla="*/ 808152 h 918852"/>
                  <a:gd name="connsiteX3" fmla="*/ 699635 w 914075"/>
                  <a:gd name="connsiteY3" fmla="*/ 107205 h 918852"/>
                  <a:gd name="connsiteX4" fmla="*/ 866533 w 914075"/>
                  <a:gd name="connsiteY4" fmla="*/ 0 h 918852"/>
                  <a:gd name="connsiteX5" fmla="*/ 914075 w 914075"/>
                  <a:gd name="connsiteY5" fmla="*/ 82346 h 918852"/>
                  <a:gd name="connsiteX6" fmla="*/ 754853 w 914075"/>
                  <a:gd name="connsiteY6" fmla="*/ 184617 h 918852"/>
                  <a:gd name="connsiteX7" fmla="*/ 116053 w 914075"/>
                  <a:gd name="connsiteY7" fmla="*/ 858968 h 918852"/>
                  <a:gd name="connsiteX8" fmla="*/ 82269 w 914075"/>
                  <a:gd name="connsiteY8" fmla="*/ 918852 h 918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075" h="918852">
                    <a:moveTo>
                      <a:pt x="82269" y="918852"/>
                    </a:moveTo>
                    <a:lnTo>
                      <a:pt x="0" y="871354"/>
                    </a:lnTo>
                    <a:lnTo>
                      <a:pt x="35654" y="808152"/>
                    </a:lnTo>
                    <a:cubicBezTo>
                      <a:pt x="211273" y="530228"/>
                      <a:pt x="438088" y="293411"/>
                      <a:pt x="699635" y="107205"/>
                    </a:cubicBezTo>
                    <a:lnTo>
                      <a:pt x="866533" y="0"/>
                    </a:lnTo>
                    <a:lnTo>
                      <a:pt x="914075" y="82346"/>
                    </a:lnTo>
                    <a:lnTo>
                      <a:pt x="754853" y="184617"/>
                    </a:lnTo>
                    <a:cubicBezTo>
                      <a:pt x="503225" y="363759"/>
                      <a:pt x="285010" y="591589"/>
                      <a:pt x="116053" y="858968"/>
                    </a:cubicBezTo>
                    <a:lnTo>
                      <a:pt x="82269" y="918852"/>
                    </a:lnTo>
                    <a:close/>
                  </a:path>
                </a:pathLst>
              </a:custGeom>
              <a:gradFill>
                <a:gsLst>
                  <a:gs pos="49000">
                    <a:srgbClr val="E9A701"/>
                  </a:gs>
                  <a:gs pos="76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8EFB482-F494-4E63-B6C0-CA0E99F9979F}"/>
                  </a:ext>
                </a:extLst>
              </p:cNvPr>
              <p:cNvSpPr/>
              <p:nvPr/>
            </p:nvSpPr>
            <p:spPr>
              <a:xfrm rot="9900000">
                <a:off x="3823424" y="4040561"/>
                <a:ext cx="402454" cy="1193156"/>
              </a:xfrm>
              <a:custGeom>
                <a:avLst/>
                <a:gdLst>
                  <a:gd name="connsiteX0" fmla="*/ 306772 w 402454"/>
                  <a:gd name="connsiteY0" fmla="*/ 1193156 h 1193156"/>
                  <a:gd name="connsiteX1" fmla="*/ 307419 w 402454"/>
                  <a:gd name="connsiteY1" fmla="*/ 1128089 h 1193156"/>
                  <a:gd name="connsiteX2" fmla="*/ 91377 w 402454"/>
                  <a:gd name="connsiteY2" fmla="*/ 224683 h 1193156"/>
                  <a:gd name="connsiteX3" fmla="*/ 0 w 402454"/>
                  <a:gd name="connsiteY3" fmla="*/ 47543 h 1193156"/>
                  <a:gd name="connsiteX4" fmla="*/ 82347 w 402454"/>
                  <a:gd name="connsiteY4" fmla="*/ 0 h 1193156"/>
                  <a:gd name="connsiteX5" fmla="*/ 177904 w 402454"/>
                  <a:gd name="connsiteY5" fmla="*/ 185252 h 1193156"/>
                  <a:gd name="connsiteX6" fmla="*/ 402454 w 402454"/>
                  <a:gd name="connsiteY6" fmla="*/ 1124280 h 1193156"/>
                  <a:gd name="connsiteX7" fmla="*/ 401768 w 402454"/>
                  <a:gd name="connsiteY7" fmla="*/ 1193155 h 1193156"/>
                  <a:gd name="connsiteX8" fmla="*/ 306772 w 402454"/>
                  <a:gd name="connsiteY8" fmla="*/ 1193156 h 11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2454" h="1193156">
                    <a:moveTo>
                      <a:pt x="306772" y="1193156"/>
                    </a:moveTo>
                    <a:lnTo>
                      <a:pt x="307419" y="1128089"/>
                    </a:lnTo>
                    <a:cubicBezTo>
                      <a:pt x="294787" y="812052"/>
                      <a:pt x="219723" y="505639"/>
                      <a:pt x="91377" y="224683"/>
                    </a:cubicBezTo>
                    <a:lnTo>
                      <a:pt x="0" y="47543"/>
                    </a:lnTo>
                    <a:lnTo>
                      <a:pt x="82347" y="0"/>
                    </a:lnTo>
                    <a:lnTo>
                      <a:pt x="177904" y="185252"/>
                    </a:lnTo>
                    <a:cubicBezTo>
                      <a:pt x="311307" y="477285"/>
                      <a:pt x="389327" y="795781"/>
                      <a:pt x="402454" y="1124280"/>
                    </a:cubicBezTo>
                    <a:lnTo>
                      <a:pt x="401768" y="1193155"/>
                    </a:lnTo>
                    <a:lnTo>
                      <a:pt x="306772" y="1193156"/>
                    </a:lnTo>
                    <a:close/>
                  </a:path>
                </a:pathLst>
              </a:custGeom>
              <a:gradFill>
                <a:gsLst>
                  <a:gs pos="35000">
                    <a:srgbClr val="00A479"/>
                  </a:gs>
                  <a:gs pos="69000">
                    <a:srgbClr val="19FFC3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7700097-6BD1-4EB4-B50A-E8F516BFAF67}"/>
                  </a:ext>
                </a:extLst>
              </p:cNvPr>
              <p:cNvSpPr/>
              <p:nvPr/>
            </p:nvSpPr>
            <p:spPr>
              <a:xfrm rot="9900000">
                <a:off x="6705707" y="5291508"/>
                <a:ext cx="1188246" cy="404485"/>
              </a:xfrm>
              <a:custGeom>
                <a:avLst/>
                <a:gdLst>
                  <a:gd name="connsiteX0" fmla="*/ 47543 w 1188246"/>
                  <a:gd name="connsiteY0" fmla="*/ 404485 h 404485"/>
                  <a:gd name="connsiteX1" fmla="*/ 0 w 1188246"/>
                  <a:gd name="connsiteY1" fmla="*/ 322138 h 404485"/>
                  <a:gd name="connsiteX2" fmla="*/ 190384 w 1188246"/>
                  <a:gd name="connsiteY2" fmla="*/ 224096 h 404485"/>
                  <a:gd name="connsiteX3" fmla="*/ 1129892 w 1188246"/>
                  <a:gd name="connsiteY3" fmla="*/ 0 h 404485"/>
                  <a:gd name="connsiteX4" fmla="*/ 1188246 w 1188246"/>
                  <a:gd name="connsiteY4" fmla="*/ 600 h 404485"/>
                  <a:gd name="connsiteX5" fmla="*/ 1188246 w 1188246"/>
                  <a:gd name="connsiteY5" fmla="*/ 95596 h 404485"/>
                  <a:gd name="connsiteX6" fmla="*/ 1133700 w 1188246"/>
                  <a:gd name="connsiteY6" fmla="*/ 95035 h 404485"/>
                  <a:gd name="connsiteX7" fmla="*/ 229817 w 1188246"/>
                  <a:gd name="connsiteY7" fmla="*/ 310623 h 404485"/>
                  <a:gd name="connsiteX8" fmla="*/ 47543 w 1188246"/>
                  <a:gd name="connsiteY8" fmla="*/ 404485 h 40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8246" h="404485">
                    <a:moveTo>
                      <a:pt x="47543" y="404485"/>
                    </a:moveTo>
                    <a:lnTo>
                      <a:pt x="0" y="322138"/>
                    </a:lnTo>
                    <a:lnTo>
                      <a:pt x="190384" y="224096"/>
                    </a:lnTo>
                    <a:cubicBezTo>
                      <a:pt x="482545" y="90873"/>
                      <a:pt x="801203" y="13007"/>
                      <a:pt x="1129892" y="0"/>
                    </a:cubicBezTo>
                    <a:lnTo>
                      <a:pt x="1188246" y="600"/>
                    </a:lnTo>
                    <a:lnTo>
                      <a:pt x="1188246" y="95596"/>
                    </a:lnTo>
                    <a:lnTo>
                      <a:pt x="1133700" y="95035"/>
                    </a:lnTo>
                    <a:cubicBezTo>
                      <a:pt x="817474" y="107547"/>
                      <a:pt x="510899" y="182456"/>
                      <a:pt x="229817" y="310623"/>
                    </a:cubicBezTo>
                    <a:lnTo>
                      <a:pt x="47543" y="404485"/>
                    </a:lnTo>
                    <a:close/>
                  </a:path>
                </a:pathLst>
              </a:custGeom>
              <a:gradFill>
                <a:gsLst>
                  <a:gs pos="47000">
                    <a:srgbClr val="C8DD01"/>
                  </a:gs>
                  <a:gs pos="69000">
                    <a:srgbClr val="E5F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B6266F8C-1AA5-455F-835E-CCDAD2BFB69D}"/>
                  </a:ext>
                </a:extLst>
              </p:cNvPr>
              <p:cNvSpPr/>
              <p:nvPr/>
            </p:nvSpPr>
            <p:spPr>
              <a:xfrm rot="9900000">
                <a:off x="4433377" y="5050023"/>
                <a:ext cx="922311" cy="918402"/>
              </a:xfrm>
              <a:custGeom>
                <a:avLst/>
                <a:gdLst>
                  <a:gd name="connsiteX0" fmla="*/ 839963 w 922311"/>
                  <a:gd name="connsiteY0" fmla="*/ 918402 h 918402"/>
                  <a:gd name="connsiteX1" fmla="*/ 734496 w 922311"/>
                  <a:gd name="connsiteY1" fmla="*/ 754458 h 918402"/>
                  <a:gd name="connsiteX2" fmla="*/ 59504 w 922311"/>
                  <a:gd name="connsiteY2" fmla="*/ 115811 h 918402"/>
                  <a:gd name="connsiteX3" fmla="*/ 0 w 922311"/>
                  <a:gd name="connsiteY3" fmla="*/ 82268 h 918402"/>
                  <a:gd name="connsiteX4" fmla="*/ 47499 w 922311"/>
                  <a:gd name="connsiteY4" fmla="*/ 0 h 918402"/>
                  <a:gd name="connsiteX5" fmla="*/ 110320 w 922311"/>
                  <a:gd name="connsiteY5" fmla="*/ 35412 h 918402"/>
                  <a:gd name="connsiteX6" fmla="*/ 811910 w 922311"/>
                  <a:gd name="connsiteY6" fmla="*/ 699240 h 918402"/>
                  <a:gd name="connsiteX7" fmla="*/ 922311 w 922311"/>
                  <a:gd name="connsiteY7" fmla="*/ 870858 h 918402"/>
                  <a:gd name="connsiteX8" fmla="*/ 839963 w 922311"/>
                  <a:gd name="connsiteY8" fmla="*/ 918402 h 91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311" h="918402">
                    <a:moveTo>
                      <a:pt x="839963" y="918402"/>
                    </a:moveTo>
                    <a:lnTo>
                      <a:pt x="734496" y="754458"/>
                    </a:lnTo>
                    <a:cubicBezTo>
                      <a:pt x="555155" y="502921"/>
                      <a:pt x="327108" y="284760"/>
                      <a:pt x="59504" y="115811"/>
                    </a:cubicBezTo>
                    <a:lnTo>
                      <a:pt x="0" y="82268"/>
                    </a:lnTo>
                    <a:lnTo>
                      <a:pt x="47499" y="0"/>
                    </a:lnTo>
                    <a:lnTo>
                      <a:pt x="110320" y="35412"/>
                    </a:lnTo>
                    <a:cubicBezTo>
                      <a:pt x="388469" y="211022"/>
                      <a:pt x="625502" y="437785"/>
                      <a:pt x="811910" y="699240"/>
                    </a:cubicBezTo>
                    <a:lnTo>
                      <a:pt x="922311" y="870858"/>
                    </a:lnTo>
                    <a:lnTo>
                      <a:pt x="839963" y="918402"/>
                    </a:lnTo>
                    <a:close/>
                  </a:path>
                </a:pathLst>
              </a:custGeom>
              <a:gradFill>
                <a:gsLst>
                  <a:gs pos="25000">
                    <a:srgbClr val="007830"/>
                  </a:gs>
                  <a:gs pos="69000">
                    <a:srgbClr val="A9D18E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C5F9F35F-D386-4AC1-A13E-5E5494541CA8}"/>
                  </a:ext>
                </a:extLst>
              </p:cNvPr>
              <p:cNvSpPr/>
              <p:nvPr/>
            </p:nvSpPr>
            <p:spPr>
              <a:xfrm rot="9900000">
                <a:off x="5489277" y="5622381"/>
                <a:ext cx="1191239" cy="397916"/>
              </a:xfrm>
              <a:custGeom>
                <a:avLst/>
                <a:gdLst>
                  <a:gd name="connsiteX0" fmla="*/ 0 w 1191239"/>
                  <a:gd name="connsiteY0" fmla="*/ 94996 h 397916"/>
                  <a:gd name="connsiteX1" fmla="*/ 0 w 1191239"/>
                  <a:gd name="connsiteY1" fmla="*/ 0 h 397916"/>
                  <a:gd name="connsiteX2" fmla="*/ 121207 w 1191239"/>
                  <a:gd name="connsiteY2" fmla="*/ 1246 h 397916"/>
                  <a:gd name="connsiteX3" fmla="*/ 622598 w 1191239"/>
                  <a:gd name="connsiteY3" fmla="*/ 82880 h 397916"/>
                  <a:gd name="connsiteX4" fmla="*/ 1097632 w 1191239"/>
                  <a:gd name="connsiteY4" fmla="*/ 262879 h 397916"/>
                  <a:gd name="connsiteX5" fmla="*/ 1191239 w 1191239"/>
                  <a:gd name="connsiteY5" fmla="*/ 315646 h 397916"/>
                  <a:gd name="connsiteX6" fmla="*/ 1143741 w 1191239"/>
                  <a:gd name="connsiteY6" fmla="*/ 397916 h 397916"/>
                  <a:gd name="connsiteX7" fmla="*/ 1055012 w 1191239"/>
                  <a:gd name="connsiteY7" fmla="*/ 347900 h 397916"/>
                  <a:gd name="connsiteX8" fmla="*/ 597988 w 1191239"/>
                  <a:gd name="connsiteY8" fmla="*/ 174726 h 397916"/>
                  <a:gd name="connsiteX9" fmla="*/ 115607 w 1191239"/>
                  <a:gd name="connsiteY9" fmla="*/ 96187 h 397916"/>
                  <a:gd name="connsiteX10" fmla="*/ 0 w 1191239"/>
                  <a:gd name="connsiteY10" fmla="*/ 94996 h 397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1239" h="397916">
                    <a:moveTo>
                      <a:pt x="0" y="94996"/>
                    </a:moveTo>
                    <a:lnTo>
                      <a:pt x="0" y="0"/>
                    </a:lnTo>
                    <a:lnTo>
                      <a:pt x="121207" y="1246"/>
                    </a:lnTo>
                    <a:cubicBezTo>
                      <a:pt x="287544" y="11254"/>
                      <a:pt x="455361" y="38069"/>
                      <a:pt x="622598" y="82880"/>
                    </a:cubicBezTo>
                    <a:cubicBezTo>
                      <a:pt x="789835" y="127691"/>
                      <a:pt x="948576" y="188377"/>
                      <a:pt x="1097632" y="262879"/>
                    </a:cubicBezTo>
                    <a:lnTo>
                      <a:pt x="1191239" y="315646"/>
                    </a:lnTo>
                    <a:lnTo>
                      <a:pt x="1143741" y="397916"/>
                    </a:lnTo>
                    <a:lnTo>
                      <a:pt x="1055012" y="347900"/>
                    </a:lnTo>
                    <a:cubicBezTo>
                      <a:pt x="911607" y="276222"/>
                      <a:pt x="758884" y="217838"/>
                      <a:pt x="597988" y="174726"/>
                    </a:cubicBezTo>
                    <a:cubicBezTo>
                      <a:pt x="437092" y="131614"/>
                      <a:pt x="275638" y="105815"/>
                      <a:pt x="115607" y="96187"/>
                    </a:cubicBezTo>
                    <a:lnTo>
                      <a:pt x="0" y="94996"/>
                    </a:lnTo>
                    <a:close/>
                  </a:path>
                </a:pathLst>
              </a:custGeom>
              <a:gradFill>
                <a:gsLst>
                  <a:gs pos="25000">
                    <a:srgbClr val="00D200"/>
                  </a:gs>
                  <a:gs pos="69000">
                    <a:srgbClr val="B8FFB8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2012E60E-98B0-4B31-AF04-2DE085D1D5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698448"/>
                <a:ext cx="537972" cy="537972"/>
              </a:xfrm>
              <a:prstGeom prst="ellipse">
                <a:avLst/>
              </a:prstGeom>
              <a:gradFill>
                <a:gsLst>
                  <a:gs pos="53000">
                    <a:srgbClr val="DB97ED"/>
                  </a:gs>
                  <a:gs pos="47000">
                    <a:srgbClr val="B536DB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02C9F75D-367D-417F-8D55-4E145D05DD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1013632"/>
                <a:ext cx="537972" cy="537972"/>
              </a:xfrm>
              <a:prstGeom prst="ellipse">
                <a:avLst/>
              </a:prstGeom>
              <a:gradFill>
                <a:gsLst>
                  <a:gs pos="43000">
                    <a:srgbClr val="E03890"/>
                  </a:gs>
                  <a:gs pos="54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3DB48486-494D-410C-B6A7-5122CCBD57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2900" y="1896596"/>
                <a:ext cx="537972" cy="537972"/>
              </a:xfrm>
              <a:prstGeom prst="ellipse">
                <a:avLst/>
              </a:prstGeom>
              <a:gradFill>
                <a:gsLst>
                  <a:gs pos="32000">
                    <a:srgbClr val="DA0000"/>
                  </a:gs>
                  <a:gs pos="56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7733DB7E-756C-4ABF-AD14-DD2CD1DCD7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80279" y="3149705"/>
                <a:ext cx="537972" cy="537972"/>
              </a:xfrm>
              <a:prstGeom prst="ellipse">
                <a:avLst/>
              </a:prstGeom>
              <a:gradFill>
                <a:gsLst>
                  <a:gs pos="40000">
                    <a:srgbClr val="FF6600"/>
                  </a:gs>
                  <a:gs pos="52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2CAE1A57-F879-412B-92FD-02EE088D33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3021" y="4387177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E9A701"/>
                  </a:gs>
                  <a:gs pos="55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BA6ED49C-1A0A-4161-8EBA-77CBA1D6B9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5294147"/>
                <a:ext cx="537972" cy="537972"/>
              </a:xfrm>
              <a:prstGeom prst="ellipse">
                <a:avLst/>
              </a:prstGeom>
              <a:gradFill>
                <a:gsLst>
                  <a:gs pos="54000">
                    <a:srgbClr val="E8FE16"/>
                  </a:gs>
                  <a:gs pos="41000">
                    <a:srgbClr val="C8D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9AA11B26-E122-4BCB-BE9B-688F768CF9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5629704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D200"/>
                  </a:gs>
                  <a:gs pos="50000">
                    <a:srgbClr val="71FF7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:a16="http://schemas.microsoft.com/office/drawing/2014/main" id="{9A8BC99A-1307-4355-A3C9-D2C6CED6EE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88346" y="5298709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7830"/>
                  </a:gs>
                  <a:gs pos="54000">
                    <a:schemeClr val="accent6">
                      <a:lumMod val="60000"/>
                      <a:lumOff val="4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:a16="http://schemas.microsoft.com/office/drawing/2014/main" id="{04E165E7-D1D1-46E7-95BD-93C65F48BE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44028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A479"/>
                  </a:gs>
                  <a:gs pos="54000">
                    <a:srgbClr val="00DAA1">
                      <a:lumMod val="95000"/>
                      <a:lumOff val="500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71B5172D-D7CC-458B-A73A-59567D5C0D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5737" y="31600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DECE">
                      <a:lumMod val="90000"/>
                    </a:srgbClr>
                  </a:gs>
                  <a:gs pos="52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8096D892-A908-4E08-B0A2-FD99374103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1896596"/>
                <a:ext cx="537972" cy="537972"/>
              </a:xfrm>
              <a:prstGeom prst="ellipse">
                <a:avLst/>
              </a:prstGeom>
              <a:gradFill>
                <a:gsLst>
                  <a:gs pos="46000">
                    <a:srgbClr val="019EFF"/>
                  </a:gs>
                  <a:gs pos="50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39AA67B2-FD8B-49E7-9388-41429F013C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98080" y="1067313"/>
                <a:ext cx="537972" cy="537972"/>
              </a:xfrm>
              <a:prstGeom prst="ellipse">
                <a:avLst/>
              </a:prstGeom>
              <a:gradFill>
                <a:gsLst>
                  <a:gs pos="44000">
                    <a:srgbClr val="3E36E3"/>
                  </a:gs>
                  <a:gs pos="50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22" name="Target2">
                <a:extLst>
                  <a:ext uri="{FF2B5EF4-FFF2-40B4-BE49-F238E27FC236}">
                    <a16:creationId xmlns:a16="http://schemas.microsoft.com/office/drawing/2014/main" id="{FF3313B4-2027-4770-9BE3-669FAFDF64DD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8280914" y="3270417"/>
                <a:ext cx="426042" cy="310106"/>
              </a:xfrm>
              <a:custGeom>
                <a:avLst/>
                <a:gdLst>
                  <a:gd name="T0" fmla="*/ 297 w 980"/>
                  <a:gd name="T1" fmla="*/ 214 h 713"/>
                  <a:gd name="T2" fmla="*/ 620 w 980"/>
                  <a:gd name="T3" fmla="*/ 51 h 713"/>
                  <a:gd name="T4" fmla="*/ 620 w 980"/>
                  <a:gd name="T5" fmla="*/ 663 h 713"/>
                  <a:gd name="T6" fmla="*/ 329 w 980"/>
                  <a:gd name="T7" fmla="*/ 260 h 713"/>
                  <a:gd name="T8" fmla="*/ 267 w 980"/>
                  <a:gd name="T9" fmla="*/ 356 h 713"/>
                  <a:gd name="T10" fmla="*/ 980 w 980"/>
                  <a:gd name="T11" fmla="*/ 356 h 713"/>
                  <a:gd name="T12" fmla="*/ 22 w 980"/>
                  <a:gd name="T13" fmla="*/ 76 h 713"/>
                  <a:gd name="T14" fmla="*/ 0 w 980"/>
                  <a:gd name="T15" fmla="*/ 142 h 713"/>
                  <a:gd name="T16" fmla="*/ 94 w 980"/>
                  <a:gd name="T17" fmla="*/ 164 h 713"/>
                  <a:gd name="T18" fmla="*/ 593 w 980"/>
                  <a:gd name="T19" fmla="*/ 357 h 713"/>
                  <a:gd name="T20" fmla="*/ 587 w 980"/>
                  <a:gd name="T21" fmla="*/ 394 h 713"/>
                  <a:gd name="T22" fmla="*/ 617 w 980"/>
                  <a:gd name="T23" fmla="*/ 291 h 713"/>
                  <a:gd name="T24" fmla="*/ 603 w 980"/>
                  <a:gd name="T25" fmla="*/ 334 h 713"/>
                  <a:gd name="T26" fmla="*/ 107 w 980"/>
                  <a:gd name="T27" fmla="*/ 142 h 713"/>
                  <a:gd name="T28" fmla="*/ 22 w 980"/>
                  <a:gd name="T29" fmla="*/ 76 h 713"/>
                  <a:gd name="T30" fmla="*/ 379 w 980"/>
                  <a:gd name="T31" fmla="*/ 246 h 713"/>
                  <a:gd name="T32" fmla="*/ 620 w 980"/>
                  <a:gd name="T33" fmla="*/ 144 h 713"/>
                  <a:gd name="T34" fmla="*/ 620 w 980"/>
                  <a:gd name="T35" fmla="*/ 569 h 713"/>
                  <a:gd name="T36" fmla="*/ 417 w 980"/>
                  <a:gd name="T37" fmla="*/ 291 h 713"/>
                  <a:gd name="T38" fmla="*/ 355 w 980"/>
                  <a:gd name="T39" fmla="*/ 356 h 713"/>
                  <a:gd name="T40" fmla="*/ 885 w 980"/>
                  <a:gd name="T41" fmla="*/ 356 h 713"/>
                  <a:gd name="T42" fmla="*/ 620 w 980"/>
                  <a:gd name="T43" fmla="*/ 181 h 713"/>
                  <a:gd name="T44" fmla="*/ 512 w 980"/>
                  <a:gd name="T45" fmla="*/ 298 h 713"/>
                  <a:gd name="T46" fmla="*/ 743 w 980"/>
                  <a:gd name="T47" fmla="*/ 356 h 713"/>
                  <a:gd name="T48" fmla="*/ 497 w 980"/>
                  <a:gd name="T49" fmla="*/ 356 h 713"/>
                  <a:gd name="T50" fmla="*/ 452 w 980"/>
                  <a:gd name="T51" fmla="*/ 305 h 713"/>
                  <a:gd name="T52" fmla="*/ 620 w 980"/>
                  <a:gd name="T53" fmla="*/ 532 h 713"/>
                  <a:gd name="T54" fmla="*/ 620 w 980"/>
                  <a:gd name="T55" fmla="*/ 181 h 713"/>
                  <a:gd name="T56" fmla="*/ 548 w 980"/>
                  <a:gd name="T57" fmla="*/ 310 h 713"/>
                  <a:gd name="T58" fmla="*/ 615 w 980"/>
                  <a:gd name="T59" fmla="*/ 287 h 713"/>
                  <a:gd name="T60" fmla="*/ 618 w 980"/>
                  <a:gd name="T61" fmla="*/ 286 h 713"/>
                  <a:gd name="T62" fmla="*/ 663 w 980"/>
                  <a:gd name="T63" fmla="*/ 357 h 713"/>
                  <a:gd name="T64" fmla="*/ 585 w 980"/>
                  <a:gd name="T65" fmla="*/ 399 h 713"/>
                  <a:gd name="T66" fmla="*/ 583 w 980"/>
                  <a:gd name="T67" fmla="*/ 397 h 713"/>
                  <a:gd name="T68" fmla="*/ 537 w 980"/>
                  <a:gd name="T69" fmla="*/ 338 h 713"/>
                  <a:gd name="T70" fmla="*/ 620 w 980"/>
                  <a:gd name="T71" fmla="*/ 442 h 713"/>
                  <a:gd name="T72" fmla="*/ 620 w 980"/>
                  <a:gd name="T73" fmla="*/ 271 h 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0" h="713">
                    <a:moveTo>
                      <a:pt x="624" y="0"/>
                    </a:moveTo>
                    <a:cubicBezTo>
                      <a:pt x="478" y="0"/>
                      <a:pt x="352" y="88"/>
                      <a:pt x="297" y="214"/>
                    </a:cubicBezTo>
                    <a:lnTo>
                      <a:pt x="341" y="231"/>
                    </a:lnTo>
                    <a:cubicBezTo>
                      <a:pt x="389" y="125"/>
                      <a:pt x="496" y="51"/>
                      <a:pt x="620" y="51"/>
                    </a:cubicBezTo>
                    <a:cubicBezTo>
                      <a:pt x="788" y="51"/>
                      <a:pt x="926" y="188"/>
                      <a:pt x="926" y="356"/>
                    </a:cubicBezTo>
                    <a:cubicBezTo>
                      <a:pt x="926" y="525"/>
                      <a:pt x="788" y="663"/>
                      <a:pt x="620" y="663"/>
                    </a:cubicBezTo>
                    <a:cubicBezTo>
                      <a:pt x="451" y="663"/>
                      <a:pt x="314" y="525"/>
                      <a:pt x="314" y="356"/>
                    </a:cubicBezTo>
                    <a:cubicBezTo>
                      <a:pt x="314" y="322"/>
                      <a:pt x="318" y="291"/>
                      <a:pt x="329" y="260"/>
                    </a:cubicBezTo>
                    <a:lnTo>
                      <a:pt x="286" y="243"/>
                    </a:lnTo>
                    <a:cubicBezTo>
                      <a:pt x="273" y="279"/>
                      <a:pt x="267" y="316"/>
                      <a:pt x="267" y="356"/>
                    </a:cubicBezTo>
                    <a:cubicBezTo>
                      <a:pt x="267" y="553"/>
                      <a:pt x="427" y="713"/>
                      <a:pt x="624" y="713"/>
                    </a:cubicBezTo>
                    <a:cubicBezTo>
                      <a:pt x="821" y="713"/>
                      <a:pt x="980" y="553"/>
                      <a:pt x="980" y="356"/>
                    </a:cubicBezTo>
                    <a:cubicBezTo>
                      <a:pt x="980" y="160"/>
                      <a:pt x="821" y="0"/>
                      <a:pt x="624" y="0"/>
                    </a:cubicBezTo>
                    <a:close/>
                    <a:moveTo>
                      <a:pt x="22" y="76"/>
                    </a:moveTo>
                    <a:cubicBezTo>
                      <a:pt x="56" y="114"/>
                      <a:pt x="60" y="134"/>
                      <a:pt x="60" y="134"/>
                    </a:cubicBezTo>
                    <a:cubicBezTo>
                      <a:pt x="60" y="134"/>
                      <a:pt x="48" y="140"/>
                      <a:pt x="0" y="142"/>
                    </a:cubicBezTo>
                    <a:cubicBezTo>
                      <a:pt x="0" y="142"/>
                      <a:pt x="50" y="172"/>
                      <a:pt x="77" y="172"/>
                    </a:cubicBezTo>
                    <a:cubicBezTo>
                      <a:pt x="83" y="172"/>
                      <a:pt x="94" y="164"/>
                      <a:pt x="94" y="164"/>
                    </a:cubicBezTo>
                    <a:lnTo>
                      <a:pt x="591" y="356"/>
                    </a:lnTo>
                    <a:lnTo>
                      <a:pt x="593" y="357"/>
                    </a:lnTo>
                    <a:lnTo>
                      <a:pt x="598" y="359"/>
                    </a:lnTo>
                    <a:lnTo>
                      <a:pt x="587" y="394"/>
                    </a:lnTo>
                    <a:lnTo>
                      <a:pt x="658" y="356"/>
                    </a:lnTo>
                    <a:lnTo>
                      <a:pt x="617" y="291"/>
                    </a:lnTo>
                    <a:lnTo>
                      <a:pt x="603" y="333"/>
                    </a:lnTo>
                    <a:lnTo>
                      <a:pt x="603" y="334"/>
                    </a:lnTo>
                    <a:cubicBezTo>
                      <a:pt x="601" y="334"/>
                      <a:pt x="602" y="334"/>
                      <a:pt x="602" y="334"/>
                    </a:cubicBezTo>
                    <a:lnTo>
                      <a:pt x="107" y="142"/>
                    </a:lnTo>
                    <a:cubicBezTo>
                      <a:pt x="107" y="142"/>
                      <a:pt x="101" y="121"/>
                      <a:pt x="93" y="113"/>
                    </a:cubicBezTo>
                    <a:cubicBezTo>
                      <a:pt x="75" y="94"/>
                      <a:pt x="22" y="76"/>
                      <a:pt x="22" y="76"/>
                    </a:cubicBezTo>
                    <a:close/>
                    <a:moveTo>
                      <a:pt x="620" y="92"/>
                    </a:moveTo>
                    <a:cubicBezTo>
                      <a:pt x="513" y="92"/>
                      <a:pt x="421" y="155"/>
                      <a:pt x="379" y="246"/>
                    </a:cubicBezTo>
                    <a:lnTo>
                      <a:pt x="428" y="265"/>
                    </a:lnTo>
                    <a:cubicBezTo>
                      <a:pt x="462" y="194"/>
                      <a:pt x="535" y="144"/>
                      <a:pt x="620" y="144"/>
                    </a:cubicBezTo>
                    <a:cubicBezTo>
                      <a:pt x="737" y="144"/>
                      <a:pt x="832" y="239"/>
                      <a:pt x="832" y="356"/>
                    </a:cubicBezTo>
                    <a:cubicBezTo>
                      <a:pt x="832" y="474"/>
                      <a:pt x="737" y="569"/>
                      <a:pt x="620" y="569"/>
                    </a:cubicBezTo>
                    <a:cubicBezTo>
                      <a:pt x="503" y="569"/>
                      <a:pt x="407" y="474"/>
                      <a:pt x="407" y="356"/>
                    </a:cubicBezTo>
                    <a:cubicBezTo>
                      <a:pt x="407" y="333"/>
                      <a:pt x="410" y="312"/>
                      <a:pt x="417" y="291"/>
                    </a:cubicBezTo>
                    <a:lnTo>
                      <a:pt x="369" y="273"/>
                    </a:lnTo>
                    <a:cubicBezTo>
                      <a:pt x="360" y="300"/>
                      <a:pt x="355" y="327"/>
                      <a:pt x="355" y="356"/>
                    </a:cubicBezTo>
                    <a:cubicBezTo>
                      <a:pt x="355" y="503"/>
                      <a:pt x="474" y="621"/>
                      <a:pt x="620" y="621"/>
                    </a:cubicBezTo>
                    <a:cubicBezTo>
                      <a:pt x="766" y="621"/>
                      <a:pt x="885" y="503"/>
                      <a:pt x="885" y="356"/>
                    </a:cubicBezTo>
                    <a:cubicBezTo>
                      <a:pt x="885" y="210"/>
                      <a:pt x="766" y="92"/>
                      <a:pt x="620" y="92"/>
                    </a:cubicBezTo>
                    <a:close/>
                    <a:moveTo>
                      <a:pt x="620" y="181"/>
                    </a:moveTo>
                    <a:cubicBezTo>
                      <a:pt x="551" y="181"/>
                      <a:pt x="492" y="221"/>
                      <a:pt x="463" y="278"/>
                    </a:cubicBezTo>
                    <a:lnTo>
                      <a:pt x="512" y="298"/>
                    </a:lnTo>
                    <a:cubicBezTo>
                      <a:pt x="533" y="260"/>
                      <a:pt x="573" y="234"/>
                      <a:pt x="620" y="234"/>
                    </a:cubicBezTo>
                    <a:cubicBezTo>
                      <a:pt x="687" y="234"/>
                      <a:pt x="743" y="289"/>
                      <a:pt x="743" y="356"/>
                    </a:cubicBezTo>
                    <a:cubicBezTo>
                      <a:pt x="743" y="424"/>
                      <a:pt x="687" y="479"/>
                      <a:pt x="620" y="479"/>
                    </a:cubicBezTo>
                    <a:cubicBezTo>
                      <a:pt x="552" y="479"/>
                      <a:pt x="497" y="424"/>
                      <a:pt x="497" y="356"/>
                    </a:cubicBezTo>
                    <a:cubicBezTo>
                      <a:pt x="497" y="345"/>
                      <a:pt x="498" y="335"/>
                      <a:pt x="501" y="324"/>
                    </a:cubicBezTo>
                    <a:lnTo>
                      <a:pt x="452" y="305"/>
                    </a:lnTo>
                    <a:cubicBezTo>
                      <a:pt x="447" y="322"/>
                      <a:pt x="444" y="338"/>
                      <a:pt x="444" y="356"/>
                    </a:cubicBezTo>
                    <a:cubicBezTo>
                      <a:pt x="444" y="453"/>
                      <a:pt x="523" y="532"/>
                      <a:pt x="620" y="532"/>
                    </a:cubicBezTo>
                    <a:cubicBezTo>
                      <a:pt x="716" y="532"/>
                      <a:pt x="795" y="453"/>
                      <a:pt x="795" y="356"/>
                    </a:cubicBezTo>
                    <a:cubicBezTo>
                      <a:pt x="795" y="260"/>
                      <a:pt x="716" y="181"/>
                      <a:pt x="620" y="181"/>
                    </a:cubicBezTo>
                    <a:close/>
                    <a:moveTo>
                      <a:pt x="620" y="271"/>
                    </a:moveTo>
                    <a:cubicBezTo>
                      <a:pt x="590" y="271"/>
                      <a:pt x="564" y="287"/>
                      <a:pt x="548" y="310"/>
                    </a:cubicBezTo>
                    <a:lnTo>
                      <a:pt x="600" y="330"/>
                    </a:lnTo>
                    <a:lnTo>
                      <a:pt x="615" y="287"/>
                    </a:lnTo>
                    <a:lnTo>
                      <a:pt x="616" y="283"/>
                    </a:lnTo>
                    <a:lnTo>
                      <a:pt x="618" y="286"/>
                    </a:lnTo>
                    <a:lnTo>
                      <a:pt x="662" y="356"/>
                    </a:lnTo>
                    <a:lnTo>
                      <a:pt x="663" y="357"/>
                    </a:lnTo>
                    <a:lnTo>
                      <a:pt x="662" y="358"/>
                    </a:lnTo>
                    <a:lnTo>
                      <a:pt x="585" y="399"/>
                    </a:lnTo>
                    <a:lnTo>
                      <a:pt x="581" y="401"/>
                    </a:lnTo>
                    <a:lnTo>
                      <a:pt x="583" y="397"/>
                    </a:lnTo>
                    <a:lnTo>
                      <a:pt x="594" y="360"/>
                    </a:lnTo>
                    <a:lnTo>
                      <a:pt x="537" y="338"/>
                    </a:lnTo>
                    <a:cubicBezTo>
                      <a:pt x="535" y="344"/>
                      <a:pt x="535" y="350"/>
                      <a:pt x="535" y="356"/>
                    </a:cubicBezTo>
                    <a:cubicBezTo>
                      <a:pt x="535" y="403"/>
                      <a:pt x="573" y="442"/>
                      <a:pt x="620" y="442"/>
                    </a:cubicBezTo>
                    <a:cubicBezTo>
                      <a:pt x="667" y="442"/>
                      <a:pt x="705" y="403"/>
                      <a:pt x="705" y="356"/>
                    </a:cubicBezTo>
                    <a:cubicBezTo>
                      <a:pt x="705" y="309"/>
                      <a:pt x="667" y="271"/>
                      <a:pt x="620" y="271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76ABC789-6761-49B4-8671-3B4C27DB5806}"/>
                  </a:ext>
                </a:extLst>
              </p:cNvPr>
              <p:cNvGrpSpPr/>
              <p:nvPr/>
            </p:nvGrpSpPr>
            <p:grpSpPr>
              <a:xfrm>
                <a:off x="3777047" y="2009210"/>
                <a:ext cx="280995" cy="333188"/>
                <a:chOff x="1631140" y="902248"/>
                <a:chExt cx="2555268" cy="2728283"/>
              </a:xfrm>
            </p:grpSpPr>
            <p:sp>
              <p:nvSpPr>
                <p:cNvPr id="424" name="Freeform 47">
                  <a:extLst>
                    <a:ext uri="{FF2B5EF4-FFF2-40B4-BE49-F238E27FC236}">
                      <a16:creationId xmlns:a16="http://schemas.microsoft.com/office/drawing/2014/main" id="{6A56F4E6-F024-4A1B-90BB-112710FE60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140" y="902248"/>
                  <a:ext cx="2555268" cy="2728283"/>
                </a:xfrm>
                <a:custGeom>
                  <a:avLst/>
                  <a:gdLst>
                    <a:gd name="T0" fmla="*/ 199 w 398"/>
                    <a:gd name="T1" fmla="*/ 425 h 425"/>
                    <a:gd name="T2" fmla="*/ 18 w 398"/>
                    <a:gd name="T3" fmla="*/ 85 h 425"/>
                    <a:gd name="T4" fmla="*/ 199 w 398"/>
                    <a:gd name="T5" fmla="*/ 0 h 425"/>
                    <a:gd name="T6" fmla="*/ 380 w 398"/>
                    <a:gd name="T7" fmla="*/ 85 h 425"/>
                    <a:gd name="T8" fmla="*/ 199 w 398"/>
                    <a:gd name="T9" fmla="*/ 425 h 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8" h="425">
                      <a:moveTo>
                        <a:pt x="199" y="425"/>
                      </a:moveTo>
                      <a:cubicBezTo>
                        <a:pt x="0" y="347"/>
                        <a:pt x="18" y="85"/>
                        <a:pt x="18" y="85"/>
                      </a:cubicBezTo>
                      <a:cubicBezTo>
                        <a:pt x="139" y="107"/>
                        <a:pt x="199" y="0"/>
                        <a:pt x="199" y="0"/>
                      </a:cubicBezTo>
                      <a:cubicBezTo>
                        <a:pt x="199" y="0"/>
                        <a:pt x="260" y="107"/>
                        <a:pt x="380" y="85"/>
                      </a:cubicBezTo>
                      <a:cubicBezTo>
                        <a:pt x="380" y="85"/>
                        <a:pt x="398" y="347"/>
                        <a:pt x="199" y="4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5" name="Freeform 49">
                  <a:extLst>
                    <a:ext uri="{FF2B5EF4-FFF2-40B4-BE49-F238E27FC236}">
                      <a16:creationId xmlns:a16="http://schemas.microsoft.com/office/drawing/2014/main" id="{70BABF6F-28DC-43B8-9976-45E531786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972" y="1700059"/>
                  <a:ext cx="1197782" cy="958226"/>
                </a:xfrm>
                <a:custGeom>
                  <a:avLst/>
                  <a:gdLst>
                    <a:gd name="T0" fmla="*/ 0 w 187"/>
                    <a:gd name="T1" fmla="*/ 88 h 150"/>
                    <a:gd name="T2" fmla="*/ 62 w 187"/>
                    <a:gd name="T3" fmla="*/ 150 h 150"/>
                    <a:gd name="T4" fmla="*/ 187 w 187"/>
                    <a:gd name="T5" fmla="*/ 25 h 150"/>
                    <a:gd name="T6" fmla="*/ 162 w 187"/>
                    <a:gd name="T7" fmla="*/ 0 h 150"/>
                    <a:gd name="T8" fmla="*/ 62 w 187"/>
                    <a:gd name="T9" fmla="*/ 100 h 150"/>
                    <a:gd name="T10" fmla="*/ 25 w 187"/>
                    <a:gd name="T11" fmla="*/ 63 h 150"/>
                    <a:gd name="T12" fmla="*/ 0 w 187"/>
                    <a:gd name="T13" fmla="*/ 88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50">
                      <a:moveTo>
                        <a:pt x="0" y="88"/>
                      </a:moveTo>
                      <a:lnTo>
                        <a:pt x="62" y="150"/>
                      </a:lnTo>
                      <a:lnTo>
                        <a:pt x="187" y="25"/>
                      </a:lnTo>
                      <a:lnTo>
                        <a:pt x="162" y="0"/>
                      </a:lnTo>
                      <a:lnTo>
                        <a:pt x="62" y="100"/>
                      </a:lnTo>
                      <a:lnTo>
                        <a:pt x="25" y="63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rgbClr val="019E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426" name="Thinking">
                <a:extLst>
                  <a:ext uri="{FF2B5EF4-FFF2-40B4-BE49-F238E27FC236}">
                    <a16:creationId xmlns:a16="http://schemas.microsoft.com/office/drawing/2014/main" id="{23E4A730-C850-4ADE-8261-2B75381CAF9F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 bwMode="auto">
              <a:xfrm>
                <a:off x="4715700" y="1177606"/>
                <a:ext cx="272359" cy="324661"/>
                <a:chOff x="6971" y="3273"/>
                <a:chExt cx="703" cy="838"/>
              </a:xfrm>
              <a:solidFill>
                <a:schemeClr val="bg1"/>
              </a:solidFill>
            </p:grpSpPr>
            <p:sp>
              <p:nvSpPr>
                <p:cNvPr id="427" name="Oval 608">
                  <a:extLst>
                    <a:ext uri="{FF2B5EF4-FFF2-40B4-BE49-F238E27FC236}">
                      <a16:creationId xmlns:a16="http://schemas.microsoft.com/office/drawing/2014/main" id="{518C050D-8248-4DB8-96C5-132D479D96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5" y="3478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8" name="Oval 609">
                  <a:extLst>
                    <a:ext uri="{FF2B5EF4-FFF2-40B4-BE49-F238E27FC236}">
                      <a16:creationId xmlns:a16="http://schemas.microsoft.com/office/drawing/2014/main" id="{129C5711-9DC9-44FE-9D98-E9460807E4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" y="3720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9" name="Oval 610">
                  <a:extLst>
                    <a:ext uri="{FF2B5EF4-FFF2-40B4-BE49-F238E27FC236}">
                      <a16:creationId xmlns:a16="http://schemas.microsoft.com/office/drawing/2014/main" id="{3BD9E0FE-C0AD-4556-907A-30C92E20F5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2" y="3442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0" name="Freeform 611">
                  <a:extLst>
                    <a:ext uri="{FF2B5EF4-FFF2-40B4-BE49-F238E27FC236}">
                      <a16:creationId xmlns:a16="http://schemas.microsoft.com/office/drawing/2014/main" id="{53943EC6-56E8-4C92-9F7A-25DB6DCE92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71" y="3273"/>
                  <a:ext cx="703" cy="838"/>
                </a:xfrm>
                <a:custGeom>
                  <a:avLst/>
                  <a:gdLst>
                    <a:gd name="T0" fmla="*/ 102 w 1051"/>
                    <a:gd name="T1" fmla="*/ 483 h 1250"/>
                    <a:gd name="T2" fmla="*/ 38 w 1051"/>
                    <a:gd name="T3" fmla="*/ 785 h 1250"/>
                    <a:gd name="T4" fmla="*/ 289 w 1051"/>
                    <a:gd name="T5" fmla="*/ 1105 h 1250"/>
                    <a:gd name="T6" fmla="*/ 869 w 1051"/>
                    <a:gd name="T7" fmla="*/ 1250 h 1250"/>
                    <a:gd name="T8" fmla="*/ 576 w 1051"/>
                    <a:gd name="T9" fmla="*/ 0 h 1250"/>
                    <a:gd name="T10" fmla="*/ 218 w 1051"/>
                    <a:gd name="T11" fmla="*/ 471 h 1250"/>
                    <a:gd name="T12" fmla="*/ 918 w 1051"/>
                    <a:gd name="T13" fmla="*/ 505 h 1250"/>
                    <a:gd name="T14" fmla="*/ 772 w 1051"/>
                    <a:gd name="T15" fmla="*/ 526 h 1250"/>
                    <a:gd name="T16" fmla="*/ 790 w 1051"/>
                    <a:gd name="T17" fmla="*/ 627 h 1250"/>
                    <a:gd name="T18" fmla="*/ 843 w 1051"/>
                    <a:gd name="T19" fmla="*/ 618 h 1250"/>
                    <a:gd name="T20" fmla="*/ 855 w 1051"/>
                    <a:gd name="T21" fmla="*/ 694 h 1250"/>
                    <a:gd name="T22" fmla="*/ 853 w 1051"/>
                    <a:gd name="T23" fmla="*/ 738 h 1250"/>
                    <a:gd name="T24" fmla="*/ 862 w 1051"/>
                    <a:gd name="T25" fmla="*/ 791 h 1250"/>
                    <a:gd name="T26" fmla="*/ 786 w 1051"/>
                    <a:gd name="T27" fmla="*/ 803 h 1250"/>
                    <a:gd name="T28" fmla="*/ 742 w 1051"/>
                    <a:gd name="T29" fmla="*/ 801 h 1250"/>
                    <a:gd name="T30" fmla="*/ 689 w 1051"/>
                    <a:gd name="T31" fmla="*/ 810 h 1250"/>
                    <a:gd name="T32" fmla="*/ 677 w 1051"/>
                    <a:gd name="T33" fmla="*/ 734 h 1250"/>
                    <a:gd name="T34" fmla="*/ 679 w 1051"/>
                    <a:gd name="T35" fmla="*/ 690 h 1250"/>
                    <a:gd name="T36" fmla="*/ 670 w 1051"/>
                    <a:gd name="T37" fmla="*/ 637 h 1250"/>
                    <a:gd name="T38" fmla="*/ 746 w 1051"/>
                    <a:gd name="T39" fmla="*/ 625 h 1250"/>
                    <a:gd name="T40" fmla="*/ 678 w 1051"/>
                    <a:gd name="T41" fmla="*/ 524 h 1250"/>
                    <a:gd name="T42" fmla="*/ 584 w 1051"/>
                    <a:gd name="T43" fmla="*/ 549 h 1250"/>
                    <a:gd name="T44" fmla="*/ 563 w 1051"/>
                    <a:gd name="T45" fmla="*/ 403 h 1250"/>
                    <a:gd name="T46" fmla="*/ 458 w 1051"/>
                    <a:gd name="T47" fmla="*/ 340 h 1250"/>
                    <a:gd name="T48" fmla="*/ 475 w 1051"/>
                    <a:gd name="T49" fmla="*/ 400 h 1250"/>
                    <a:gd name="T50" fmla="*/ 381 w 1051"/>
                    <a:gd name="T51" fmla="*/ 414 h 1250"/>
                    <a:gd name="T52" fmla="*/ 319 w 1051"/>
                    <a:gd name="T53" fmla="*/ 412 h 1250"/>
                    <a:gd name="T54" fmla="*/ 258 w 1051"/>
                    <a:gd name="T55" fmla="*/ 429 h 1250"/>
                    <a:gd name="T56" fmla="*/ 245 w 1051"/>
                    <a:gd name="T57" fmla="*/ 334 h 1250"/>
                    <a:gd name="T58" fmla="*/ 246 w 1051"/>
                    <a:gd name="T59" fmla="*/ 272 h 1250"/>
                    <a:gd name="T60" fmla="*/ 229 w 1051"/>
                    <a:gd name="T61" fmla="*/ 212 h 1250"/>
                    <a:gd name="T62" fmla="*/ 324 w 1051"/>
                    <a:gd name="T63" fmla="*/ 198 h 1250"/>
                    <a:gd name="T64" fmla="*/ 386 w 1051"/>
                    <a:gd name="T65" fmla="*/ 200 h 1250"/>
                    <a:gd name="T66" fmla="*/ 447 w 1051"/>
                    <a:gd name="T67" fmla="*/ 183 h 1250"/>
                    <a:gd name="T68" fmla="*/ 460 w 1051"/>
                    <a:gd name="T69" fmla="*/ 278 h 1250"/>
                    <a:gd name="T70" fmla="*/ 566 w 1051"/>
                    <a:gd name="T71" fmla="*/ 309 h 1250"/>
                    <a:gd name="T72" fmla="*/ 541 w 1051"/>
                    <a:gd name="T73" fmla="*/ 215 h 1250"/>
                    <a:gd name="T74" fmla="*/ 687 w 1051"/>
                    <a:gd name="T75" fmla="*/ 194 h 1250"/>
                    <a:gd name="T76" fmla="*/ 781 w 1051"/>
                    <a:gd name="T77" fmla="*/ 197 h 1250"/>
                    <a:gd name="T78" fmla="*/ 875 w 1051"/>
                    <a:gd name="T79" fmla="*/ 171 h 1250"/>
                    <a:gd name="T80" fmla="*/ 896 w 1051"/>
                    <a:gd name="T81" fmla="*/ 317 h 1250"/>
                    <a:gd name="T82" fmla="*/ 893 w 1051"/>
                    <a:gd name="T83" fmla="*/ 412 h 1250"/>
                    <a:gd name="T84" fmla="*/ 918 w 1051"/>
                    <a:gd name="T85" fmla="*/ 505 h 1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51" h="1250">
                      <a:moveTo>
                        <a:pt x="576" y="0"/>
                      </a:moveTo>
                      <a:cubicBezTo>
                        <a:pt x="361" y="0"/>
                        <a:pt x="163" y="162"/>
                        <a:pt x="122" y="340"/>
                      </a:cubicBezTo>
                      <a:cubicBezTo>
                        <a:pt x="112" y="379"/>
                        <a:pt x="102" y="483"/>
                        <a:pt x="102" y="483"/>
                      </a:cubicBezTo>
                      <a:lnTo>
                        <a:pt x="3" y="732"/>
                      </a:lnTo>
                      <a:cubicBezTo>
                        <a:pt x="1" y="737"/>
                        <a:pt x="0" y="742"/>
                        <a:pt x="0" y="747"/>
                      </a:cubicBezTo>
                      <a:cubicBezTo>
                        <a:pt x="0" y="768"/>
                        <a:pt x="17" y="785"/>
                        <a:pt x="38" y="785"/>
                      </a:cubicBezTo>
                      <a:lnTo>
                        <a:pt x="102" y="785"/>
                      </a:lnTo>
                      <a:lnTo>
                        <a:pt x="102" y="918"/>
                      </a:lnTo>
                      <a:cubicBezTo>
                        <a:pt x="102" y="1021"/>
                        <a:pt x="186" y="1105"/>
                        <a:pt x="289" y="1105"/>
                      </a:cubicBezTo>
                      <a:lnTo>
                        <a:pt x="363" y="1105"/>
                      </a:lnTo>
                      <a:lnTo>
                        <a:pt x="363" y="1250"/>
                      </a:lnTo>
                      <a:lnTo>
                        <a:pt x="869" y="1250"/>
                      </a:lnTo>
                      <a:lnTo>
                        <a:pt x="869" y="847"/>
                      </a:lnTo>
                      <a:cubicBezTo>
                        <a:pt x="980" y="761"/>
                        <a:pt x="1051" y="626"/>
                        <a:pt x="1051" y="474"/>
                      </a:cubicBezTo>
                      <a:cubicBezTo>
                        <a:pt x="1051" y="212"/>
                        <a:pt x="838" y="0"/>
                        <a:pt x="576" y="0"/>
                      </a:cubicBezTo>
                      <a:close/>
                      <a:moveTo>
                        <a:pt x="218" y="577"/>
                      </a:moveTo>
                      <a:cubicBezTo>
                        <a:pt x="189" y="577"/>
                        <a:pt x="166" y="553"/>
                        <a:pt x="166" y="524"/>
                      </a:cubicBezTo>
                      <a:cubicBezTo>
                        <a:pt x="166" y="495"/>
                        <a:pt x="189" y="471"/>
                        <a:pt x="218" y="471"/>
                      </a:cubicBezTo>
                      <a:cubicBezTo>
                        <a:pt x="248" y="471"/>
                        <a:pt x="272" y="495"/>
                        <a:pt x="272" y="524"/>
                      </a:cubicBezTo>
                      <a:cubicBezTo>
                        <a:pt x="272" y="553"/>
                        <a:pt x="248" y="577"/>
                        <a:pt x="218" y="577"/>
                      </a:cubicBezTo>
                      <a:close/>
                      <a:moveTo>
                        <a:pt x="918" y="505"/>
                      </a:moveTo>
                      <a:lnTo>
                        <a:pt x="869" y="555"/>
                      </a:lnTo>
                      <a:lnTo>
                        <a:pt x="809" y="512"/>
                      </a:lnTo>
                      <a:cubicBezTo>
                        <a:pt x="797" y="518"/>
                        <a:pt x="785" y="523"/>
                        <a:pt x="772" y="526"/>
                      </a:cubicBezTo>
                      <a:lnTo>
                        <a:pt x="761" y="592"/>
                      </a:lnTo>
                      <a:lnTo>
                        <a:pt x="784" y="592"/>
                      </a:lnTo>
                      <a:lnTo>
                        <a:pt x="790" y="627"/>
                      </a:lnTo>
                      <a:cubicBezTo>
                        <a:pt x="793" y="627"/>
                        <a:pt x="795" y="628"/>
                        <a:pt x="798" y="629"/>
                      </a:cubicBezTo>
                      <a:cubicBezTo>
                        <a:pt x="804" y="631"/>
                        <a:pt x="810" y="634"/>
                        <a:pt x="815" y="637"/>
                      </a:cubicBezTo>
                      <a:lnTo>
                        <a:pt x="843" y="618"/>
                      </a:lnTo>
                      <a:lnTo>
                        <a:pt x="865" y="641"/>
                      </a:lnTo>
                      <a:lnTo>
                        <a:pt x="845" y="670"/>
                      </a:lnTo>
                      <a:cubicBezTo>
                        <a:pt x="849" y="677"/>
                        <a:pt x="853" y="686"/>
                        <a:pt x="855" y="694"/>
                      </a:cubicBezTo>
                      <a:lnTo>
                        <a:pt x="888" y="700"/>
                      </a:lnTo>
                      <a:lnTo>
                        <a:pt x="888" y="732"/>
                      </a:lnTo>
                      <a:lnTo>
                        <a:pt x="853" y="738"/>
                      </a:lnTo>
                      <a:cubicBezTo>
                        <a:pt x="853" y="741"/>
                        <a:pt x="852" y="743"/>
                        <a:pt x="851" y="746"/>
                      </a:cubicBezTo>
                      <a:cubicBezTo>
                        <a:pt x="849" y="752"/>
                        <a:pt x="846" y="758"/>
                        <a:pt x="843" y="763"/>
                      </a:cubicBezTo>
                      <a:lnTo>
                        <a:pt x="862" y="791"/>
                      </a:lnTo>
                      <a:lnTo>
                        <a:pt x="840" y="813"/>
                      </a:lnTo>
                      <a:lnTo>
                        <a:pt x="811" y="793"/>
                      </a:lnTo>
                      <a:cubicBezTo>
                        <a:pt x="803" y="797"/>
                        <a:pt x="795" y="801"/>
                        <a:pt x="786" y="803"/>
                      </a:cubicBezTo>
                      <a:lnTo>
                        <a:pt x="780" y="836"/>
                      </a:lnTo>
                      <a:lnTo>
                        <a:pt x="748" y="836"/>
                      </a:lnTo>
                      <a:lnTo>
                        <a:pt x="742" y="801"/>
                      </a:lnTo>
                      <a:cubicBezTo>
                        <a:pt x="739" y="801"/>
                        <a:pt x="737" y="800"/>
                        <a:pt x="734" y="799"/>
                      </a:cubicBezTo>
                      <a:cubicBezTo>
                        <a:pt x="728" y="797"/>
                        <a:pt x="723" y="794"/>
                        <a:pt x="717" y="791"/>
                      </a:cubicBezTo>
                      <a:lnTo>
                        <a:pt x="689" y="810"/>
                      </a:lnTo>
                      <a:lnTo>
                        <a:pt x="667" y="788"/>
                      </a:lnTo>
                      <a:lnTo>
                        <a:pt x="687" y="759"/>
                      </a:lnTo>
                      <a:cubicBezTo>
                        <a:pt x="683" y="751"/>
                        <a:pt x="679" y="743"/>
                        <a:pt x="677" y="734"/>
                      </a:cubicBezTo>
                      <a:lnTo>
                        <a:pt x="644" y="728"/>
                      </a:lnTo>
                      <a:lnTo>
                        <a:pt x="644" y="696"/>
                      </a:lnTo>
                      <a:lnTo>
                        <a:pt x="679" y="690"/>
                      </a:lnTo>
                      <a:cubicBezTo>
                        <a:pt x="680" y="687"/>
                        <a:pt x="680" y="685"/>
                        <a:pt x="681" y="682"/>
                      </a:cubicBezTo>
                      <a:cubicBezTo>
                        <a:pt x="683" y="676"/>
                        <a:pt x="686" y="671"/>
                        <a:pt x="689" y="665"/>
                      </a:cubicBezTo>
                      <a:lnTo>
                        <a:pt x="670" y="637"/>
                      </a:lnTo>
                      <a:lnTo>
                        <a:pt x="693" y="615"/>
                      </a:lnTo>
                      <a:lnTo>
                        <a:pt x="722" y="635"/>
                      </a:lnTo>
                      <a:cubicBezTo>
                        <a:pt x="729" y="631"/>
                        <a:pt x="738" y="627"/>
                        <a:pt x="746" y="625"/>
                      </a:cubicBezTo>
                      <a:lnTo>
                        <a:pt x="751" y="596"/>
                      </a:lnTo>
                      <a:lnTo>
                        <a:pt x="691" y="596"/>
                      </a:lnTo>
                      <a:lnTo>
                        <a:pt x="678" y="524"/>
                      </a:lnTo>
                      <a:cubicBezTo>
                        <a:pt x="675" y="523"/>
                        <a:pt x="673" y="522"/>
                        <a:pt x="670" y="521"/>
                      </a:cubicBezTo>
                      <a:cubicBezTo>
                        <a:pt x="660" y="518"/>
                        <a:pt x="651" y="513"/>
                        <a:pt x="642" y="508"/>
                      </a:cubicBezTo>
                      <a:lnTo>
                        <a:pt x="584" y="549"/>
                      </a:lnTo>
                      <a:lnTo>
                        <a:pt x="535" y="500"/>
                      </a:lnTo>
                      <a:lnTo>
                        <a:pt x="578" y="440"/>
                      </a:lnTo>
                      <a:cubicBezTo>
                        <a:pt x="571" y="428"/>
                        <a:pt x="567" y="416"/>
                        <a:pt x="563" y="403"/>
                      </a:cubicBezTo>
                      <a:lnTo>
                        <a:pt x="494" y="391"/>
                      </a:lnTo>
                      <a:lnTo>
                        <a:pt x="494" y="334"/>
                      </a:lnTo>
                      <a:lnTo>
                        <a:pt x="458" y="340"/>
                      </a:lnTo>
                      <a:cubicBezTo>
                        <a:pt x="458" y="341"/>
                        <a:pt x="458" y="343"/>
                        <a:pt x="457" y="345"/>
                      </a:cubicBezTo>
                      <a:cubicBezTo>
                        <a:pt x="455" y="351"/>
                        <a:pt x="452" y="357"/>
                        <a:pt x="449" y="362"/>
                      </a:cubicBezTo>
                      <a:lnTo>
                        <a:pt x="475" y="400"/>
                      </a:lnTo>
                      <a:lnTo>
                        <a:pt x="443" y="433"/>
                      </a:lnTo>
                      <a:lnTo>
                        <a:pt x="403" y="405"/>
                      </a:lnTo>
                      <a:cubicBezTo>
                        <a:pt x="396" y="409"/>
                        <a:pt x="389" y="412"/>
                        <a:pt x="381" y="414"/>
                      </a:cubicBezTo>
                      <a:lnTo>
                        <a:pt x="373" y="460"/>
                      </a:lnTo>
                      <a:lnTo>
                        <a:pt x="327" y="460"/>
                      </a:lnTo>
                      <a:lnTo>
                        <a:pt x="319" y="412"/>
                      </a:lnTo>
                      <a:cubicBezTo>
                        <a:pt x="317" y="411"/>
                        <a:pt x="315" y="411"/>
                        <a:pt x="314" y="411"/>
                      </a:cubicBezTo>
                      <a:cubicBezTo>
                        <a:pt x="308" y="408"/>
                        <a:pt x="302" y="405"/>
                        <a:pt x="296" y="402"/>
                      </a:cubicBezTo>
                      <a:lnTo>
                        <a:pt x="258" y="429"/>
                      </a:lnTo>
                      <a:lnTo>
                        <a:pt x="226" y="397"/>
                      </a:lnTo>
                      <a:lnTo>
                        <a:pt x="254" y="357"/>
                      </a:lnTo>
                      <a:cubicBezTo>
                        <a:pt x="250" y="350"/>
                        <a:pt x="247" y="342"/>
                        <a:pt x="245" y="334"/>
                      </a:cubicBezTo>
                      <a:lnTo>
                        <a:pt x="199" y="326"/>
                      </a:lnTo>
                      <a:lnTo>
                        <a:pt x="199" y="280"/>
                      </a:lnTo>
                      <a:lnTo>
                        <a:pt x="246" y="272"/>
                      </a:lnTo>
                      <a:cubicBezTo>
                        <a:pt x="247" y="271"/>
                        <a:pt x="247" y="269"/>
                        <a:pt x="248" y="267"/>
                      </a:cubicBezTo>
                      <a:cubicBezTo>
                        <a:pt x="250" y="261"/>
                        <a:pt x="253" y="255"/>
                        <a:pt x="256" y="250"/>
                      </a:cubicBezTo>
                      <a:lnTo>
                        <a:pt x="229" y="212"/>
                      </a:lnTo>
                      <a:lnTo>
                        <a:pt x="262" y="179"/>
                      </a:lnTo>
                      <a:lnTo>
                        <a:pt x="301" y="207"/>
                      </a:lnTo>
                      <a:cubicBezTo>
                        <a:pt x="309" y="203"/>
                        <a:pt x="316" y="200"/>
                        <a:pt x="324" y="198"/>
                      </a:cubicBezTo>
                      <a:lnTo>
                        <a:pt x="332" y="152"/>
                      </a:lnTo>
                      <a:lnTo>
                        <a:pt x="378" y="152"/>
                      </a:lnTo>
                      <a:lnTo>
                        <a:pt x="386" y="200"/>
                      </a:lnTo>
                      <a:cubicBezTo>
                        <a:pt x="388" y="201"/>
                        <a:pt x="390" y="201"/>
                        <a:pt x="391" y="201"/>
                      </a:cubicBezTo>
                      <a:cubicBezTo>
                        <a:pt x="397" y="204"/>
                        <a:pt x="403" y="207"/>
                        <a:pt x="409" y="210"/>
                      </a:cubicBezTo>
                      <a:lnTo>
                        <a:pt x="447" y="183"/>
                      </a:lnTo>
                      <a:lnTo>
                        <a:pt x="479" y="215"/>
                      </a:lnTo>
                      <a:lnTo>
                        <a:pt x="451" y="255"/>
                      </a:lnTo>
                      <a:cubicBezTo>
                        <a:pt x="455" y="262"/>
                        <a:pt x="458" y="270"/>
                        <a:pt x="460" y="278"/>
                      </a:cubicBezTo>
                      <a:lnTo>
                        <a:pt x="506" y="286"/>
                      </a:lnTo>
                      <a:lnTo>
                        <a:pt x="506" y="319"/>
                      </a:lnTo>
                      <a:lnTo>
                        <a:pt x="566" y="309"/>
                      </a:lnTo>
                      <a:cubicBezTo>
                        <a:pt x="567" y="306"/>
                        <a:pt x="568" y="303"/>
                        <a:pt x="569" y="301"/>
                      </a:cubicBezTo>
                      <a:cubicBezTo>
                        <a:pt x="572" y="291"/>
                        <a:pt x="577" y="282"/>
                        <a:pt x="582" y="273"/>
                      </a:cubicBezTo>
                      <a:lnTo>
                        <a:pt x="541" y="215"/>
                      </a:lnTo>
                      <a:lnTo>
                        <a:pt x="590" y="166"/>
                      </a:lnTo>
                      <a:lnTo>
                        <a:pt x="650" y="208"/>
                      </a:lnTo>
                      <a:cubicBezTo>
                        <a:pt x="662" y="202"/>
                        <a:pt x="674" y="197"/>
                        <a:pt x="687" y="194"/>
                      </a:cubicBezTo>
                      <a:lnTo>
                        <a:pt x="699" y="124"/>
                      </a:lnTo>
                      <a:lnTo>
                        <a:pt x="769" y="124"/>
                      </a:lnTo>
                      <a:lnTo>
                        <a:pt x="781" y="197"/>
                      </a:lnTo>
                      <a:cubicBezTo>
                        <a:pt x="784" y="197"/>
                        <a:pt x="787" y="198"/>
                        <a:pt x="789" y="199"/>
                      </a:cubicBezTo>
                      <a:cubicBezTo>
                        <a:pt x="799" y="203"/>
                        <a:pt x="808" y="207"/>
                        <a:pt x="817" y="212"/>
                      </a:cubicBezTo>
                      <a:lnTo>
                        <a:pt x="875" y="171"/>
                      </a:lnTo>
                      <a:lnTo>
                        <a:pt x="924" y="221"/>
                      </a:lnTo>
                      <a:lnTo>
                        <a:pt x="882" y="281"/>
                      </a:lnTo>
                      <a:cubicBezTo>
                        <a:pt x="888" y="292"/>
                        <a:pt x="893" y="305"/>
                        <a:pt x="896" y="317"/>
                      </a:cubicBezTo>
                      <a:lnTo>
                        <a:pt x="966" y="329"/>
                      </a:lnTo>
                      <a:lnTo>
                        <a:pt x="966" y="399"/>
                      </a:lnTo>
                      <a:lnTo>
                        <a:pt x="893" y="412"/>
                      </a:lnTo>
                      <a:cubicBezTo>
                        <a:pt x="892" y="414"/>
                        <a:pt x="892" y="417"/>
                        <a:pt x="891" y="420"/>
                      </a:cubicBezTo>
                      <a:cubicBezTo>
                        <a:pt x="887" y="430"/>
                        <a:pt x="882" y="439"/>
                        <a:pt x="877" y="447"/>
                      </a:cubicBezTo>
                      <a:lnTo>
                        <a:pt x="918" y="505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31" name="Money_bag2">
                <a:extLst>
                  <a:ext uri="{FF2B5EF4-FFF2-40B4-BE49-F238E27FC236}">
                    <a16:creationId xmlns:a16="http://schemas.microsoft.com/office/drawing/2014/main" id="{5BA6ED51-AD74-415B-A443-055D5D64509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989710" y="5717140"/>
                <a:ext cx="232955" cy="310106"/>
              </a:xfrm>
              <a:custGeom>
                <a:avLst/>
                <a:gdLst>
                  <a:gd name="T0" fmla="*/ 2068 w 4850"/>
                  <a:gd name="T1" fmla="*/ 3435 h 6444"/>
                  <a:gd name="T2" fmla="*/ 2111 w 4850"/>
                  <a:gd name="T3" fmla="*/ 3711 h 6444"/>
                  <a:gd name="T4" fmla="*/ 2329 w 4850"/>
                  <a:gd name="T5" fmla="*/ 3288 h 6444"/>
                  <a:gd name="T6" fmla="*/ 2133 w 4850"/>
                  <a:gd name="T7" fmla="*/ 3352 h 6444"/>
                  <a:gd name="T8" fmla="*/ 2515 w 4850"/>
                  <a:gd name="T9" fmla="*/ 4305 h 6444"/>
                  <a:gd name="T10" fmla="*/ 2633 w 4850"/>
                  <a:gd name="T11" fmla="*/ 4885 h 6444"/>
                  <a:gd name="T12" fmla="*/ 2825 w 4850"/>
                  <a:gd name="T13" fmla="*/ 4733 h 6444"/>
                  <a:gd name="T14" fmla="*/ 2779 w 4850"/>
                  <a:gd name="T15" fmla="*/ 4417 h 6444"/>
                  <a:gd name="T16" fmla="*/ 3416 w 4850"/>
                  <a:gd name="T17" fmla="*/ 2021 h 6444"/>
                  <a:gd name="T18" fmla="*/ 3232 w 4850"/>
                  <a:gd name="T19" fmla="*/ 1774 h 6444"/>
                  <a:gd name="T20" fmla="*/ 3208 w 4850"/>
                  <a:gd name="T21" fmla="*/ 1256 h 6444"/>
                  <a:gd name="T22" fmla="*/ 3021 w 4850"/>
                  <a:gd name="T23" fmla="*/ 233 h 6444"/>
                  <a:gd name="T24" fmla="*/ 1776 w 4850"/>
                  <a:gd name="T25" fmla="*/ 0 h 6444"/>
                  <a:gd name="T26" fmla="*/ 1313 w 4850"/>
                  <a:gd name="T27" fmla="*/ 469 h 6444"/>
                  <a:gd name="T28" fmla="*/ 1641 w 4850"/>
                  <a:gd name="T29" fmla="*/ 1256 h 6444"/>
                  <a:gd name="T30" fmla="*/ 0 w 4850"/>
                  <a:gd name="T31" fmla="*/ 5105 h 6444"/>
                  <a:gd name="T32" fmla="*/ 4850 w 4850"/>
                  <a:gd name="T33" fmla="*/ 5105 h 6444"/>
                  <a:gd name="T34" fmla="*/ 2099 w 4850"/>
                  <a:gd name="T35" fmla="*/ 1363 h 6444"/>
                  <a:gd name="T36" fmla="*/ 2761 w 4850"/>
                  <a:gd name="T37" fmla="*/ 1781 h 6444"/>
                  <a:gd name="T38" fmla="*/ 2099 w 4850"/>
                  <a:gd name="T39" fmla="*/ 1363 h 6444"/>
                  <a:gd name="T40" fmla="*/ 3145 w 4850"/>
                  <a:gd name="T41" fmla="*/ 5003 h 6444"/>
                  <a:gd name="T42" fmla="*/ 2515 w 4850"/>
                  <a:gd name="T43" fmla="*/ 5278 h 6444"/>
                  <a:gd name="T44" fmla="*/ 2329 w 4850"/>
                  <a:gd name="T45" fmla="*/ 5547 h 6444"/>
                  <a:gd name="T46" fmla="*/ 1776 w 4850"/>
                  <a:gd name="T47" fmla="*/ 5060 h 6444"/>
                  <a:gd name="T48" fmla="*/ 1990 w 4850"/>
                  <a:gd name="T49" fmla="*/ 4494 h 6444"/>
                  <a:gd name="T50" fmla="*/ 2329 w 4850"/>
                  <a:gd name="T51" fmla="*/ 4911 h 6444"/>
                  <a:gd name="T52" fmla="*/ 2286 w 4850"/>
                  <a:gd name="T53" fmla="*/ 4237 h 6444"/>
                  <a:gd name="T54" fmla="*/ 1997 w 4850"/>
                  <a:gd name="T55" fmla="*/ 4149 h 6444"/>
                  <a:gd name="T56" fmla="*/ 1649 w 4850"/>
                  <a:gd name="T57" fmla="*/ 3858 h 6444"/>
                  <a:gd name="T58" fmla="*/ 1657 w 4850"/>
                  <a:gd name="T59" fmla="*/ 3310 h 6444"/>
                  <a:gd name="T60" fmla="*/ 2054 w 4850"/>
                  <a:gd name="T61" fmla="*/ 2973 h 6444"/>
                  <a:gd name="T62" fmla="*/ 2329 w 4850"/>
                  <a:gd name="T63" fmla="*/ 2675 h 6444"/>
                  <a:gd name="T64" fmla="*/ 2515 w 4850"/>
                  <a:gd name="T65" fmla="*/ 2918 h 6444"/>
                  <a:gd name="T66" fmla="*/ 3002 w 4850"/>
                  <a:gd name="T67" fmla="*/ 3106 h 6444"/>
                  <a:gd name="T68" fmla="*/ 3226 w 4850"/>
                  <a:gd name="T69" fmla="*/ 3591 h 6444"/>
                  <a:gd name="T70" fmla="*/ 2698 w 4850"/>
                  <a:gd name="T71" fmla="*/ 3376 h 6444"/>
                  <a:gd name="T72" fmla="*/ 2515 w 4850"/>
                  <a:gd name="T73" fmla="*/ 3847 h 6444"/>
                  <a:gd name="T74" fmla="*/ 2676 w 4850"/>
                  <a:gd name="T75" fmla="*/ 3888 h 6444"/>
                  <a:gd name="T76" fmla="*/ 3223 w 4850"/>
                  <a:gd name="T77" fmla="*/ 4239 h 6444"/>
                  <a:gd name="T78" fmla="*/ 3305 w 4850"/>
                  <a:gd name="T79" fmla="*/ 4621 h 6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850" h="6444">
                    <a:moveTo>
                      <a:pt x="2133" y="3352"/>
                    </a:moveTo>
                    <a:cubicBezTo>
                      <a:pt x="2105" y="3374"/>
                      <a:pt x="2084" y="3402"/>
                      <a:pt x="2068" y="3435"/>
                    </a:cubicBezTo>
                    <a:cubicBezTo>
                      <a:pt x="2052" y="3467"/>
                      <a:pt x="2044" y="3506"/>
                      <a:pt x="2044" y="3550"/>
                    </a:cubicBezTo>
                    <a:cubicBezTo>
                      <a:pt x="2044" y="3619"/>
                      <a:pt x="2066" y="3673"/>
                      <a:pt x="2111" y="3711"/>
                    </a:cubicBezTo>
                    <a:cubicBezTo>
                      <a:pt x="2155" y="3749"/>
                      <a:pt x="2228" y="3780"/>
                      <a:pt x="2329" y="3803"/>
                    </a:cubicBezTo>
                    <a:lnTo>
                      <a:pt x="2329" y="3288"/>
                    </a:lnTo>
                    <a:cubicBezTo>
                      <a:pt x="2293" y="3288"/>
                      <a:pt x="2258" y="3293"/>
                      <a:pt x="2224" y="3303"/>
                    </a:cubicBezTo>
                    <a:cubicBezTo>
                      <a:pt x="2191" y="3314"/>
                      <a:pt x="2160" y="3330"/>
                      <a:pt x="2133" y="3352"/>
                    </a:cubicBezTo>
                    <a:close/>
                    <a:moveTo>
                      <a:pt x="2779" y="4417"/>
                    </a:moveTo>
                    <a:cubicBezTo>
                      <a:pt x="2727" y="4376"/>
                      <a:pt x="2639" y="4339"/>
                      <a:pt x="2515" y="4305"/>
                    </a:cubicBezTo>
                    <a:lnTo>
                      <a:pt x="2515" y="4911"/>
                    </a:lnTo>
                    <a:cubicBezTo>
                      <a:pt x="2553" y="4908"/>
                      <a:pt x="2593" y="4898"/>
                      <a:pt x="2633" y="4885"/>
                    </a:cubicBezTo>
                    <a:cubicBezTo>
                      <a:pt x="2675" y="4871"/>
                      <a:pt x="2711" y="4852"/>
                      <a:pt x="2744" y="4826"/>
                    </a:cubicBezTo>
                    <a:cubicBezTo>
                      <a:pt x="2777" y="4801"/>
                      <a:pt x="2803" y="4770"/>
                      <a:pt x="2825" y="4733"/>
                    </a:cubicBezTo>
                    <a:cubicBezTo>
                      <a:pt x="2846" y="4696"/>
                      <a:pt x="2856" y="4653"/>
                      <a:pt x="2856" y="4602"/>
                    </a:cubicBezTo>
                    <a:cubicBezTo>
                      <a:pt x="2856" y="4520"/>
                      <a:pt x="2830" y="4458"/>
                      <a:pt x="2779" y="4417"/>
                    </a:cubicBezTo>
                    <a:close/>
                    <a:moveTo>
                      <a:pt x="3415" y="2020"/>
                    </a:moveTo>
                    <a:lnTo>
                      <a:pt x="3416" y="2021"/>
                    </a:lnTo>
                    <a:cubicBezTo>
                      <a:pt x="3414" y="2019"/>
                      <a:pt x="3413" y="2018"/>
                      <a:pt x="3412" y="2016"/>
                    </a:cubicBezTo>
                    <a:cubicBezTo>
                      <a:pt x="3351" y="1932"/>
                      <a:pt x="3291" y="1851"/>
                      <a:pt x="3232" y="1774"/>
                    </a:cubicBezTo>
                    <a:cubicBezTo>
                      <a:pt x="3154" y="1644"/>
                      <a:pt x="3113" y="1485"/>
                      <a:pt x="3208" y="1256"/>
                    </a:cubicBezTo>
                    <a:lnTo>
                      <a:pt x="3208" y="1256"/>
                    </a:lnTo>
                    <a:lnTo>
                      <a:pt x="3537" y="469"/>
                    </a:lnTo>
                    <a:lnTo>
                      <a:pt x="3021" y="233"/>
                    </a:lnTo>
                    <a:lnTo>
                      <a:pt x="3074" y="0"/>
                    </a:lnTo>
                    <a:lnTo>
                      <a:pt x="1776" y="0"/>
                    </a:lnTo>
                    <a:lnTo>
                      <a:pt x="1844" y="297"/>
                    </a:lnTo>
                    <a:lnTo>
                      <a:pt x="1313" y="469"/>
                    </a:lnTo>
                    <a:lnTo>
                      <a:pt x="1641" y="1256"/>
                    </a:lnTo>
                    <a:lnTo>
                      <a:pt x="1641" y="1256"/>
                    </a:lnTo>
                    <a:cubicBezTo>
                      <a:pt x="1804" y="1646"/>
                      <a:pt x="1571" y="1831"/>
                      <a:pt x="1434" y="2021"/>
                    </a:cubicBezTo>
                    <a:cubicBezTo>
                      <a:pt x="757" y="2957"/>
                      <a:pt x="0" y="4297"/>
                      <a:pt x="0" y="5105"/>
                    </a:cubicBezTo>
                    <a:cubicBezTo>
                      <a:pt x="0" y="6444"/>
                      <a:pt x="1040" y="6400"/>
                      <a:pt x="2425" y="6400"/>
                    </a:cubicBezTo>
                    <a:cubicBezTo>
                      <a:pt x="3810" y="6400"/>
                      <a:pt x="4850" y="6444"/>
                      <a:pt x="4850" y="5105"/>
                    </a:cubicBezTo>
                    <a:cubicBezTo>
                      <a:pt x="4850" y="4297"/>
                      <a:pt x="4092" y="2957"/>
                      <a:pt x="3415" y="2020"/>
                    </a:cubicBezTo>
                    <a:close/>
                    <a:moveTo>
                      <a:pt x="2099" y="1363"/>
                    </a:moveTo>
                    <a:lnTo>
                      <a:pt x="2761" y="1363"/>
                    </a:lnTo>
                    <a:lnTo>
                      <a:pt x="2761" y="1781"/>
                    </a:lnTo>
                    <a:lnTo>
                      <a:pt x="2099" y="1781"/>
                    </a:lnTo>
                    <a:lnTo>
                      <a:pt x="2099" y="1363"/>
                    </a:lnTo>
                    <a:close/>
                    <a:moveTo>
                      <a:pt x="3270" y="4796"/>
                    </a:moveTo>
                    <a:cubicBezTo>
                      <a:pt x="3247" y="4867"/>
                      <a:pt x="3205" y="4936"/>
                      <a:pt x="3145" y="5003"/>
                    </a:cubicBezTo>
                    <a:cubicBezTo>
                      <a:pt x="3085" y="5071"/>
                      <a:pt x="3005" y="5131"/>
                      <a:pt x="2904" y="5183"/>
                    </a:cubicBezTo>
                    <a:cubicBezTo>
                      <a:pt x="2802" y="5236"/>
                      <a:pt x="2673" y="5268"/>
                      <a:pt x="2515" y="5278"/>
                    </a:cubicBezTo>
                    <a:lnTo>
                      <a:pt x="2515" y="5547"/>
                    </a:lnTo>
                    <a:lnTo>
                      <a:pt x="2329" y="5547"/>
                    </a:lnTo>
                    <a:lnTo>
                      <a:pt x="2329" y="5278"/>
                    </a:lnTo>
                    <a:cubicBezTo>
                      <a:pt x="2093" y="5261"/>
                      <a:pt x="1908" y="5189"/>
                      <a:pt x="1776" y="5060"/>
                    </a:cubicBezTo>
                    <a:cubicBezTo>
                      <a:pt x="1643" y="4932"/>
                      <a:pt x="1566" y="4743"/>
                      <a:pt x="1545" y="4494"/>
                    </a:cubicBezTo>
                    <a:lnTo>
                      <a:pt x="1990" y="4494"/>
                    </a:lnTo>
                    <a:cubicBezTo>
                      <a:pt x="1989" y="4615"/>
                      <a:pt x="2020" y="4709"/>
                      <a:pt x="2085" y="4779"/>
                    </a:cubicBezTo>
                    <a:cubicBezTo>
                      <a:pt x="2151" y="4848"/>
                      <a:pt x="2232" y="4893"/>
                      <a:pt x="2329" y="4911"/>
                    </a:cubicBezTo>
                    <a:lnTo>
                      <a:pt x="2329" y="4251"/>
                    </a:lnTo>
                    <a:cubicBezTo>
                      <a:pt x="2318" y="4247"/>
                      <a:pt x="2304" y="4242"/>
                      <a:pt x="2286" y="4237"/>
                    </a:cubicBezTo>
                    <a:cubicBezTo>
                      <a:pt x="2268" y="4232"/>
                      <a:pt x="2248" y="4227"/>
                      <a:pt x="2228" y="4223"/>
                    </a:cubicBezTo>
                    <a:cubicBezTo>
                      <a:pt x="2150" y="4202"/>
                      <a:pt x="2073" y="4177"/>
                      <a:pt x="1997" y="4149"/>
                    </a:cubicBezTo>
                    <a:cubicBezTo>
                      <a:pt x="1921" y="4120"/>
                      <a:pt x="1853" y="4082"/>
                      <a:pt x="1793" y="4035"/>
                    </a:cubicBezTo>
                    <a:cubicBezTo>
                      <a:pt x="1733" y="3988"/>
                      <a:pt x="1685" y="3928"/>
                      <a:pt x="1649" y="3858"/>
                    </a:cubicBezTo>
                    <a:cubicBezTo>
                      <a:pt x="1613" y="3787"/>
                      <a:pt x="1596" y="3699"/>
                      <a:pt x="1596" y="3594"/>
                    </a:cubicBezTo>
                    <a:cubicBezTo>
                      <a:pt x="1596" y="3487"/>
                      <a:pt x="1616" y="3392"/>
                      <a:pt x="1657" y="3310"/>
                    </a:cubicBezTo>
                    <a:cubicBezTo>
                      <a:pt x="1698" y="3228"/>
                      <a:pt x="1752" y="3159"/>
                      <a:pt x="1820" y="3103"/>
                    </a:cubicBezTo>
                    <a:cubicBezTo>
                      <a:pt x="1887" y="3047"/>
                      <a:pt x="1965" y="3004"/>
                      <a:pt x="2054" y="2973"/>
                    </a:cubicBezTo>
                    <a:cubicBezTo>
                      <a:pt x="2142" y="2943"/>
                      <a:pt x="2234" y="2924"/>
                      <a:pt x="2329" y="2918"/>
                    </a:cubicBezTo>
                    <a:lnTo>
                      <a:pt x="2329" y="2675"/>
                    </a:lnTo>
                    <a:lnTo>
                      <a:pt x="2515" y="2675"/>
                    </a:lnTo>
                    <a:lnTo>
                      <a:pt x="2515" y="2918"/>
                    </a:lnTo>
                    <a:cubicBezTo>
                      <a:pt x="2610" y="2929"/>
                      <a:pt x="2699" y="2949"/>
                      <a:pt x="2782" y="2980"/>
                    </a:cubicBezTo>
                    <a:cubicBezTo>
                      <a:pt x="2865" y="3010"/>
                      <a:pt x="2938" y="3052"/>
                      <a:pt x="3002" y="3106"/>
                    </a:cubicBezTo>
                    <a:cubicBezTo>
                      <a:pt x="3065" y="3160"/>
                      <a:pt x="3117" y="3227"/>
                      <a:pt x="3156" y="3306"/>
                    </a:cubicBezTo>
                    <a:cubicBezTo>
                      <a:pt x="3196" y="3387"/>
                      <a:pt x="3220" y="3482"/>
                      <a:pt x="3226" y="3591"/>
                    </a:cubicBezTo>
                    <a:lnTo>
                      <a:pt x="2777" y="3591"/>
                    </a:lnTo>
                    <a:cubicBezTo>
                      <a:pt x="2775" y="3507"/>
                      <a:pt x="2749" y="3435"/>
                      <a:pt x="2698" y="3376"/>
                    </a:cubicBezTo>
                    <a:cubicBezTo>
                      <a:pt x="2647" y="3317"/>
                      <a:pt x="2587" y="3288"/>
                      <a:pt x="2515" y="3288"/>
                    </a:cubicBezTo>
                    <a:lnTo>
                      <a:pt x="2515" y="3847"/>
                    </a:lnTo>
                    <a:cubicBezTo>
                      <a:pt x="2540" y="3853"/>
                      <a:pt x="2566" y="3860"/>
                      <a:pt x="2593" y="3866"/>
                    </a:cubicBezTo>
                    <a:cubicBezTo>
                      <a:pt x="2619" y="3872"/>
                      <a:pt x="2647" y="3879"/>
                      <a:pt x="2676" y="3888"/>
                    </a:cubicBezTo>
                    <a:cubicBezTo>
                      <a:pt x="2832" y="3930"/>
                      <a:pt x="2952" y="3982"/>
                      <a:pt x="3036" y="4044"/>
                    </a:cubicBezTo>
                    <a:cubicBezTo>
                      <a:pt x="3120" y="4106"/>
                      <a:pt x="3183" y="4171"/>
                      <a:pt x="3223" y="4239"/>
                    </a:cubicBezTo>
                    <a:cubicBezTo>
                      <a:pt x="3263" y="4306"/>
                      <a:pt x="3286" y="4374"/>
                      <a:pt x="3294" y="4441"/>
                    </a:cubicBezTo>
                    <a:cubicBezTo>
                      <a:pt x="3301" y="4508"/>
                      <a:pt x="3305" y="4568"/>
                      <a:pt x="3305" y="4621"/>
                    </a:cubicBezTo>
                    <a:cubicBezTo>
                      <a:pt x="3305" y="4667"/>
                      <a:pt x="3293" y="4726"/>
                      <a:pt x="3270" y="479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32" name="Idea2">
                <a:extLst>
                  <a:ext uri="{FF2B5EF4-FFF2-40B4-BE49-F238E27FC236}">
                    <a16:creationId xmlns:a16="http://schemas.microsoft.com/office/drawing/2014/main" id="{62B8C296-8EB0-4601-861B-D7AC469A2C8A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"/>
                </p:custDataLst>
              </p:nvPr>
            </p:nvGrpSpPr>
            <p:grpSpPr>
              <a:xfrm>
                <a:off x="7201328" y="1102714"/>
                <a:ext cx="290151" cy="320748"/>
                <a:chOff x="2087986" y="1812758"/>
                <a:chExt cx="316995" cy="350423"/>
              </a:xfrm>
              <a:solidFill>
                <a:schemeClr val="bg1"/>
              </a:solidFill>
            </p:grpSpPr>
            <p:sp>
              <p:nvSpPr>
                <p:cNvPr id="433" name="Crowdsourcing2">
                  <a:extLst>
                    <a:ext uri="{FF2B5EF4-FFF2-40B4-BE49-F238E27FC236}">
                      <a16:creationId xmlns:a16="http://schemas.microsoft.com/office/drawing/2014/main" id="{194F42B5-2CC9-4032-B7B6-261FA6619A7A}"/>
                    </a:ext>
                  </a:extLst>
                </p:cNvPr>
                <p:cNvSpPr>
                  <a:spLocks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212479" y="2095171"/>
                  <a:ext cx="68010" cy="23054"/>
                </a:xfrm>
                <a:custGeom>
                  <a:avLst/>
                  <a:gdLst>
                    <a:gd name="T0" fmla="*/ 130 w 156"/>
                    <a:gd name="T1" fmla="*/ 52 h 52"/>
                    <a:gd name="T2" fmla="*/ 26 w 156"/>
                    <a:gd name="T3" fmla="*/ 52 h 52"/>
                    <a:gd name="T4" fmla="*/ 0 w 156"/>
                    <a:gd name="T5" fmla="*/ 26 h 52"/>
                    <a:gd name="T6" fmla="*/ 26 w 156"/>
                    <a:gd name="T7" fmla="*/ 0 h 52"/>
                    <a:gd name="T8" fmla="*/ 130 w 156"/>
                    <a:gd name="T9" fmla="*/ 0 h 52"/>
                    <a:gd name="T10" fmla="*/ 156 w 156"/>
                    <a:gd name="T11" fmla="*/ 26 h 52"/>
                    <a:gd name="T12" fmla="*/ 130 w 156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6" h="52">
                      <a:moveTo>
                        <a:pt x="130" y="52"/>
                      </a:moveTo>
                      <a:lnTo>
                        <a:pt x="26" y="52"/>
                      </a:lnTo>
                      <a:cubicBezTo>
                        <a:pt x="11" y="52"/>
                        <a:pt x="0" y="40"/>
                        <a:pt x="0" y="26"/>
                      </a:cubicBezTo>
                      <a:cubicBezTo>
                        <a:pt x="0" y="12"/>
                        <a:pt x="11" y="0"/>
                        <a:pt x="26" y="0"/>
                      </a:cubicBezTo>
                      <a:lnTo>
                        <a:pt x="130" y="0"/>
                      </a:lnTo>
                      <a:cubicBezTo>
                        <a:pt x="144" y="0"/>
                        <a:pt x="156" y="12"/>
                        <a:pt x="156" y="26"/>
                      </a:cubicBezTo>
                      <a:cubicBezTo>
                        <a:pt x="156" y="40"/>
                        <a:pt x="144" y="52"/>
                        <a:pt x="130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4" name="Crowdsourcing2">
                  <a:extLst>
                    <a:ext uri="{FF2B5EF4-FFF2-40B4-BE49-F238E27FC236}">
                      <a16:creationId xmlns:a16="http://schemas.microsoft.com/office/drawing/2014/main" id="{A3DA463B-A7B0-4074-BC19-C8A951568F82}"/>
                    </a:ext>
                  </a:extLst>
                </p:cNvPr>
                <p:cNvSpPr>
                  <a:spLocks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235533" y="1812758"/>
                  <a:ext cx="21901" cy="68010"/>
                </a:xfrm>
                <a:custGeom>
                  <a:avLst/>
                  <a:gdLst>
                    <a:gd name="T0" fmla="*/ 26 w 52"/>
                    <a:gd name="T1" fmla="*/ 156 h 156"/>
                    <a:gd name="T2" fmla="*/ 0 w 52"/>
                    <a:gd name="T3" fmla="*/ 130 h 156"/>
                    <a:gd name="T4" fmla="*/ 0 w 52"/>
                    <a:gd name="T5" fmla="*/ 26 h 156"/>
                    <a:gd name="T6" fmla="*/ 26 w 52"/>
                    <a:gd name="T7" fmla="*/ 0 h 156"/>
                    <a:gd name="T8" fmla="*/ 52 w 52"/>
                    <a:gd name="T9" fmla="*/ 26 h 156"/>
                    <a:gd name="T10" fmla="*/ 52 w 52"/>
                    <a:gd name="T11" fmla="*/ 130 h 156"/>
                    <a:gd name="T12" fmla="*/ 26 w 52"/>
                    <a:gd name="T13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56">
                      <a:moveTo>
                        <a:pt x="26" y="156"/>
                      </a:moveTo>
                      <a:cubicBezTo>
                        <a:pt x="12" y="156"/>
                        <a:pt x="0" y="145"/>
                        <a:pt x="0" y="130"/>
                      </a:cubicBezTo>
                      <a:lnTo>
                        <a:pt x="0" y="26"/>
                      </a:lnTo>
                      <a:cubicBezTo>
                        <a:pt x="0" y="12"/>
                        <a:pt x="12" y="0"/>
                        <a:pt x="26" y="0"/>
                      </a:cubicBezTo>
                      <a:cubicBezTo>
                        <a:pt x="40" y="0"/>
                        <a:pt x="52" y="12"/>
                        <a:pt x="52" y="26"/>
                      </a:cubicBezTo>
                      <a:lnTo>
                        <a:pt x="52" y="130"/>
                      </a:lnTo>
                      <a:cubicBezTo>
                        <a:pt x="52" y="145"/>
                        <a:pt x="40" y="156"/>
                        <a:pt x="26" y="15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5" name="Crowdsourcing2">
                  <a:extLst>
                    <a:ext uri="{FF2B5EF4-FFF2-40B4-BE49-F238E27FC236}">
                      <a16:creationId xmlns:a16="http://schemas.microsoft.com/office/drawing/2014/main" id="{9E803931-742A-4CEB-A220-6DD7BBD4D94C}"/>
                    </a:ext>
                  </a:extLst>
                </p:cNvPr>
                <p:cNvSpPr>
                  <a:spLocks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087986" y="1960304"/>
                  <a:ext cx="68010" cy="21901"/>
                </a:xfrm>
                <a:custGeom>
                  <a:avLst/>
                  <a:gdLst>
                    <a:gd name="T0" fmla="*/ 131 w 157"/>
                    <a:gd name="T1" fmla="*/ 52 h 52"/>
                    <a:gd name="T2" fmla="*/ 26 w 157"/>
                    <a:gd name="T3" fmla="*/ 52 h 52"/>
                    <a:gd name="T4" fmla="*/ 0 w 157"/>
                    <a:gd name="T5" fmla="*/ 26 h 52"/>
                    <a:gd name="T6" fmla="*/ 26 w 157"/>
                    <a:gd name="T7" fmla="*/ 0 h 52"/>
                    <a:gd name="T8" fmla="*/ 131 w 157"/>
                    <a:gd name="T9" fmla="*/ 0 h 52"/>
                    <a:gd name="T10" fmla="*/ 157 w 157"/>
                    <a:gd name="T11" fmla="*/ 26 h 52"/>
                    <a:gd name="T12" fmla="*/ 131 w 157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7" h="52">
                      <a:moveTo>
                        <a:pt x="131" y="52"/>
                      </a:moveTo>
                      <a:lnTo>
                        <a:pt x="26" y="52"/>
                      </a:lnTo>
                      <a:cubicBezTo>
                        <a:pt x="12" y="52"/>
                        <a:pt x="0" y="40"/>
                        <a:pt x="0" y="26"/>
                      </a:cubicBezTo>
                      <a:cubicBezTo>
                        <a:pt x="0" y="11"/>
                        <a:pt x="12" y="0"/>
                        <a:pt x="26" y="0"/>
                      </a:cubicBezTo>
                      <a:lnTo>
                        <a:pt x="131" y="0"/>
                      </a:lnTo>
                      <a:cubicBezTo>
                        <a:pt x="145" y="0"/>
                        <a:pt x="157" y="11"/>
                        <a:pt x="157" y="26"/>
                      </a:cubicBezTo>
                      <a:cubicBezTo>
                        <a:pt x="157" y="40"/>
                        <a:pt x="145" y="52"/>
                        <a:pt x="131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6" name="Crowdsourcing2">
                  <a:extLst>
                    <a:ext uri="{FF2B5EF4-FFF2-40B4-BE49-F238E27FC236}">
                      <a16:creationId xmlns:a16="http://schemas.microsoft.com/office/drawing/2014/main" id="{F5A2ECB9-4E94-43CF-BC1D-9C4AC2C36676}"/>
                    </a:ext>
                  </a:extLst>
                </p:cNvPr>
                <p:cNvSpPr>
                  <a:spLocks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2128331" y="1853103"/>
                  <a:ext cx="56483" cy="55330"/>
                </a:xfrm>
                <a:custGeom>
                  <a:avLst/>
                  <a:gdLst>
                    <a:gd name="T0" fmla="*/ 103 w 131"/>
                    <a:gd name="T1" fmla="*/ 128 h 128"/>
                    <a:gd name="T2" fmla="*/ 84 w 131"/>
                    <a:gd name="T3" fmla="*/ 121 h 128"/>
                    <a:gd name="T4" fmla="*/ 11 w 131"/>
                    <a:gd name="T5" fmla="*/ 47 h 128"/>
                    <a:gd name="T6" fmla="*/ 11 w 131"/>
                    <a:gd name="T7" fmla="*/ 10 h 128"/>
                    <a:gd name="T8" fmla="*/ 47 w 131"/>
                    <a:gd name="T9" fmla="*/ 10 h 128"/>
                    <a:gd name="T10" fmla="*/ 121 w 131"/>
                    <a:gd name="T11" fmla="*/ 84 h 128"/>
                    <a:gd name="T12" fmla="*/ 121 w 131"/>
                    <a:gd name="T13" fmla="*/ 121 h 128"/>
                    <a:gd name="T14" fmla="*/ 103 w 131"/>
                    <a:gd name="T15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1" h="128">
                      <a:moveTo>
                        <a:pt x="103" y="128"/>
                      </a:moveTo>
                      <a:cubicBezTo>
                        <a:pt x="96" y="128"/>
                        <a:pt x="89" y="126"/>
                        <a:pt x="84" y="121"/>
                      </a:cubicBezTo>
                      <a:lnTo>
                        <a:pt x="11" y="47"/>
                      </a:lnTo>
                      <a:cubicBezTo>
                        <a:pt x="0" y="37"/>
                        <a:pt x="0" y="20"/>
                        <a:pt x="11" y="10"/>
                      </a:cubicBezTo>
                      <a:cubicBezTo>
                        <a:pt x="21" y="0"/>
                        <a:pt x="37" y="0"/>
                        <a:pt x="47" y="10"/>
                      </a:cubicBezTo>
                      <a:lnTo>
                        <a:pt x="121" y="84"/>
                      </a:lnTo>
                      <a:cubicBezTo>
                        <a:pt x="131" y="94"/>
                        <a:pt x="131" y="111"/>
                        <a:pt x="121" y="121"/>
                      </a:cubicBezTo>
                      <a:cubicBezTo>
                        <a:pt x="116" y="126"/>
                        <a:pt x="109" y="128"/>
                        <a:pt x="103" y="12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7" name="Crowdsourcing2">
                  <a:extLst>
                    <a:ext uri="{FF2B5EF4-FFF2-40B4-BE49-F238E27FC236}">
                      <a16:creationId xmlns:a16="http://schemas.microsoft.com/office/drawing/2014/main" id="{BCAFB665-9E07-4E8F-9137-526E02E75BEB}"/>
                    </a:ext>
                  </a:extLst>
                </p:cNvPr>
                <p:cNvSpPr>
                  <a:spLocks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307001" y="1853103"/>
                  <a:ext cx="56483" cy="55330"/>
                </a:xfrm>
                <a:custGeom>
                  <a:avLst/>
                  <a:gdLst>
                    <a:gd name="T0" fmla="*/ 28 w 130"/>
                    <a:gd name="T1" fmla="*/ 128 h 128"/>
                    <a:gd name="T2" fmla="*/ 10 w 130"/>
                    <a:gd name="T3" fmla="*/ 121 h 128"/>
                    <a:gd name="T4" fmla="*/ 10 w 130"/>
                    <a:gd name="T5" fmla="*/ 84 h 128"/>
                    <a:gd name="T6" fmla="*/ 83 w 130"/>
                    <a:gd name="T7" fmla="*/ 10 h 128"/>
                    <a:gd name="T8" fmla="*/ 120 w 130"/>
                    <a:gd name="T9" fmla="*/ 10 h 128"/>
                    <a:gd name="T10" fmla="*/ 120 w 130"/>
                    <a:gd name="T11" fmla="*/ 47 h 128"/>
                    <a:gd name="T12" fmla="*/ 47 w 130"/>
                    <a:gd name="T13" fmla="*/ 121 h 128"/>
                    <a:gd name="T14" fmla="*/ 28 w 130"/>
                    <a:gd name="T15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0" h="128">
                      <a:moveTo>
                        <a:pt x="28" y="128"/>
                      </a:moveTo>
                      <a:cubicBezTo>
                        <a:pt x="22" y="128"/>
                        <a:pt x="15" y="126"/>
                        <a:pt x="10" y="121"/>
                      </a:cubicBezTo>
                      <a:cubicBezTo>
                        <a:pt x="0" y="111"/>
                        <a:pt x="0" y="94"/>
                        <a:pt x="10" y="84"/>
                      </a:cubicBezTo>
                      <a:lnTo>
                        <a:pt x="83" y="10"/>
                      </a:lnTo>
                      <a:cubicBezTo>
                        <a:pt x="94" y="0"/>
                        <a:pt x="110" y="0"/>
                        <a:pt x="120" y="10"/>
                      </a:cubicBezTo>
                      <a:cubicBezTo>
                        <a:pt x="130" y="20"/>
                        <a:pt x="130" y="37"/>
                        <a:pt x="120" y="47"/>
                      </a:cubicBezTo>
                      <a:lnTo>
                        <a:pt x="47" y="121"/>
                      </a:lnTo>
                      <a:cubicBezTo>
                        <a:pt x="42" y="126"/>
                        <a:pt x="35" y="128"/>
                        <a:pt x="28" y="12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8" name="Crowdsourcing2">
                  <a:extLst>
                    <a:ext uri="{FF2B5EF4-FFF2-40B4-BE49-F238E27FC236}">
                      <a16:creationId xmlns:a16="http://schemas.microsoft.com/office/drawing/2014/main" id="{E915F6DD-1C83-48EF-8E09-E06B8B017236}"/>
                    </a:ext>
                  </a:extLst>
                </p:cNvPr>
                <p:cNvSpPr>
                  <a:spLocks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336971" y="1960304"/>
                  <a:ext cx="68010" cy="21901"/>
                </a:xfrm>
                <a:custGeom>
                  <a:avLst/>
                  <a:gdLst>
                    <a:gd name="T0" fmla="*/ 131 w 157"/>
                    <a:gd name="T1" fmla="*/ 52 h 52"/>
                    <a:gd name="T2" fmla="*/ 26 w 157"/>
                    <a:gd name="T3" fmla="*/ 52 h 52"/>
                    <a:gd name="T4" fmla="*/ 0 w 157"/>
                    <a:gd name="T5" fmla="*/ 26 h 52"/>
                    <a:gd name="T6" fmla="*/ 26 w 157"/>
                    <a:gd name="T7" fmla="*/ 0 h 52"/>
                    <a:gd name="T8" fmla="*/ 131 w 157"/>
                    <a:gd name="T9" fmla="*/ 0 h 52"/>
                    <a:gd name="T10" fmla="*/ 157 w 157"/>
                    <a:gd name="T11" fmla="*/ 26 h 52"/>
                    <a:gd name="T12" fmla="*/ 131 w 157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7" h="52">
                      <a:moveTo>
                        <a:pt x="131" y="52"/>
                      </a:moveTo>
                      <a:lnTo>
                        <a:pt x="26" y="52"/>
                      </a:lnTo>
                      <a:cubicBezTo>
                        <a:pt x="12" y="52"/>
                        <a:pt x="0" y="40"/>
                        <a:pt x="0" y="26"/>
                      </a:cubicBezTo>
                      <a:cubicBezTo>
                        <a:pt x="0" y="11"/>
                        <a:pt x="12" y="0"/>
                        <a:pt x="26" y="0"/>
                      </a:cubicBezTo>
                      <a:lnTo>
                        <a:pt x="131" y="0"/>
                      </a:lnTo>
                      <a:cubicBezTo>
                        <a:pt x="145" y="0"/>
                        <a:pt x="157" y="11"/>
                        <a:pt x="157" y="26"/>
                      </a:cubicBezTo>
                      <a:cubicBezTo>
                        <a:pt x="157" y="40"/>
                        <a:pt x="145" y="52"/>
                        <a:pt x="131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9" name="Crowdsourcing2">
                  <a:extLst>
                    <a:ext uri="{FF2B5EF4-FFF2-40B4-BE49-F238E27FC236}">
                      <a16:creationId xmlns:a16="http://schemas.microsoft.com/office/drawing/2014/main" id="{6BD66400-0B5A-45FD-BF80-6FE0CCFD9D64}"/>
                    </a:ext>
                  </a:extLst>
                </p:cNvPr>
                <p:cNvSpPr>
                  <a:spLocks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212479" y="2128600"/>
                  <a:ext cx="68010" cy="34581"/>
                </a:xfrm>
                <a:custGeom>
                  <a:avLst/>
                  <a:gdLst>
                    <a:gd name="T0" fmla="*/ 130 w 156"/>
                    <a:gd name="T1" fmla="*/ 0 h 78"/>
                    <a:gd name="T2" fmla="*/ 26 w 156"/>
                    <a:gd name="T3" fmla="*/ 0 h 78"/>
                    <a:gd name="T4" fmla="*/ 0 w 156"/>
                    <a:gd name="T5" fmla="*/ 26 h 78"/>
                    <a:gd name="T6" fmla="*/ 26 w 156"/>
                    <a:gd name="T7" fmla="*/ 52 h 78"/>
                    <a:gd name="T8" fmla="*/ 39 w 156"/>
                    <a:gd name="T9" fmla="*/ 52 h 78"/>
                    <a:gd name="T10" fmla="*/ 65 w 156"/>
                    <a:gd name="T11" fmla="*/ 78 h 78"/>
                    <a:gd name="T12" fmla="*/ 91 w 156"/>
                    <a:gd name="T13" fmla="*/ 78 h 78"/>
                    <a:gd name="T14" fmla="*/ 117 w 156"/>
                    <a:gd name="T15" fmla="*/ 52 h 78"/>
                    <a:gd name="T16" fmla="*/ 130 w 156"/>
                    <a:gd name="T17" fmla="*/ 52 h 78"/>
                    <a:gd name="T18" fmla="*/ 156 w 156"/>
                    <a:gd name="T19" fmla="*/ 26 h 78"/>
                    <a:gd name="T20" fmla="*/ 130 w 156"/>
                    <a:gd name="T2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56" h="78">
                      <a:moveTo>
                        <a:pt x="130" y="0"/>
                      </a:moveTo>
                      <a:lnTo>
                        <a:pt x="26" y="0"/>
                      </a:lnTo>
                      <a:cubicBezTo>
                        <a:pt x="11" y="0"/>
                        <a:pt x="0" y="12"/>
                        <a:pt x="0" y="26"/>
                      </a:cubicBezTo>
                      <a:cubicBezTo>
                        <a:pt x="0" y="41"/>
                        <a:pt x="11" y="52"/>
                        <a:pt x="26" y="52"/>
                      </a:cubicBezTo>
                      <a:lnTo>
                        <a:pt x="39" y="52"/>
                      </a:lnTo>
                      <a:cubicBezTo>
                        <a:pt x="39" y="67"/>
                        <a:pt x="51" y="78"/>
                        <a:pt x="65" y="78"/>
                      </a:cubicBezTo>
                      <a:lnTo>
                        <a:pt x="91" y="78"/>
                      </a:lnTo>
                      <a:cubicBezTo>
                        <a:pt x="105" y="78"/>
                        <a:pt x="117" y="67"/>
                        <a:pt x="117" y="52"/>
                      </a:cubicBezTo>
                      <a:lnTo>
                        <a:pt x="130" y="52"/>
                      </a:lnTo>
                      <a:cubicBezTo>
                        <a:pt x="144" y="52"/>
                        <a:pt x="156" y="41"/>
                        <a:pt x="156" y="26"/>
                      </a:cubicBezTo>
                      <a:cubicBezTo>
                        <a:pt x="156" y="12"/>
                        <a:pt x="144" y="0"/>
                        <a:pt x="13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0" name="Crowdsourcing2">
                  <a:extLst>
                    <a:ext uri="{FF2B5EF4-FFF2-40B4-BE49-F238E27FC236}">
                      <a16:creationId xmlns:a16="http://schemas.microsoft.com/office/drawing/2014/main" id="{3773014E-9EFC-46A2-9748-353CC1173C84}"/>
                    </a:ext>
                  </a:extLst>
                </p:cNvPr>
                <p:cNvSpPr>
                  <a:spLocks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>
                  <a:off x="2167523" y="1892295"/>
                  <a:ext cx="157921" cy="191349"/>
                </a:xfrm>
                <a:custGeom>
                  <a:avLst/>
                  <a:gdLst>
                    <a:gd name="T0" fmla="*/ 316 w 364"/>
                    <a:gd name="T1" fmla="*/ 306 h 443"/>
                    <a:gd name="T2" fmla="*/ 364 w 364"/>
                    <a:gd name="T3" fmla="*/ 183 h 443"/>
                    <a:gd name="T4" fmla="*/ 182 w 364"/>
                    <a:gd name="T5" fmla="*/ 0 h 443"/>
                    <a:gd name="T6" fmla="*/ 0 w 364"/>
                    <a:gd name="T7" fmla="*/ 183 h 443"/>
                    <a:gd name="T8" fmla="*/ 45 w 364"/>
                    <a:gd name="T9" fmla="*/ 302 h 443"/>
                    <a:gd name="T10" fmla="*/ 104 w 364"/>
                    <a:gd name="T11" fmla="*/ 417 h 443"/>
                    <a:gd name="T12" fmla="*/ 130 w 364"/>
                    <a:gd name="T13" fmla="*/ 443 h 443"/>
                    <a:gd name="T14" fmla="*/ 234 w 364"/>
                    <a:gd name="T15" fmla="*/ 443 h 443"/>
                    <a:gd name="T16" fmla="*/ 260 w 364"/>
                    <a:gd name="T17" fmla="*/ 417 h 443"/>
                    <a:gd name="T18" fmla="*/ 260 w 364"/>
                    <a:gd name="T19" fmla="*/ 416 h 443"/>
                    <a:gd name="T20" fmla="*/ 316 w 364"/>
                    <a:gd name="T21" fmla="*/ 306 h 4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4" h="443">
                      <a:moveTo>
                        <a:pt x="316" y="306"/>
                      </a:moveTo>
                      <a:cubicBezTo>
                        <a:pt x="346" y="273"/>
                        <a:pt x="364" y="230"/>
                        <a:pt x="364" y="183"/>
                      </a:cubicBezTo>
                      <a:cubicBezTo>
                        <a:pt x="364" y="82"/>
                        <a:pt x="283" y="0"/>
                        <a:pt x="182" y="0"/>
                      </a:cubicBezTo>
                      <a:cubicBezTo>
                        <a:pt x="81" y="0"/>
                        <a:pt x="0" y="82"/>
                        <a:pt x="0" y="183"/>
                      </a:cubicBezTo>
                      <a:cubicBezTo>
                        <a:pt x="0" y="229"/>
                        <a:pt x="17" y="270"/>
                        <a:pt x="45" y="302"/>
                      </a:cubicBezTo>
                      <a:cubicBezTo>
                        <a:pt x="57" y="316"/>
                        <a:pt x="104" y="372"/>
                        <a:pt x="104" y="417"/>
                      </a:cubicBezTo>
                      <a:cubicBezTo>
                        <a:pt x="104" y="431"/>
                        <a:pt x="115" y="443"/>
                        <a:pt x="130" y="443"/>
                      </a:cubicBezTo>
                      <a:lnTo>
                        <a:pt x="234" y="443"/>
                      </a:lnTo>
                      <a:cubicBezTo>
                        <a:pt x="248" y="443"/>
                        <a:pt x="260" y="431"/>
                        <a:pt x="260" y="417"/>
                      </a:cubicBezTo>
                      <a:lnTo>
                        <a:pt x="260" y="416"/>
                      </a:lnTo>
                      <a:cubicBezTo>
                        <a:pt x="261" y="373"/>
                        <a:pt x="301" y="323"/>
                        <a:pt x="316" y="30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1" name="Clock3">
                <a:extLst>
                  <a:ext uri="{FF2B5EF4-FFF2-40B4-BE49-F238E27FC236}">
                    <a16:creationId xmlns:a16="http://schemas.microsoft.com/office/drawing/2014/main" id="{564070B0-8555-44C2-8F39-BC86DCD0987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5"/>
                </p:custDataLst>
              </p:nvPr>
            </p:nvGrpSpPr>
            <p:grpSpPr bwMode="auto">
              <a:xfrm>
                <a:off x="4697472" y="5413840"/>
                <a:ext cx="309115" cy="310106"/>
                <a:chOff x="86" y="86"/>
                <a:chExt cx="312" cy="313"/>
              </a:xfrm>
              <a:solidFill>
                <a:schemeClr val="bg1"/>
              </a:solidFill>
            </p:grpSpPr>
            <p:sp>
              <p:nvSpPr>
                <p:cNvPr id="442" name="Clock3">
                  <a:extLst>
                    <a:ext uri="{FF2B5EF4-FFF2-40B4-BE49-F238E27FC236}">
                      <a16:creationId xmlns:a16="http://schemas.microsoft.com/office/drawing/2014/main" id="{7F9D2C15-AB21-45C5-87BC-D51EAC6E3BC6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>
                  <a:off x="86" y="86"/>
                  <a:ext cx="312" cy="313"/>
                </a:xfrm>
                <a:custGeom>
                  <a:avLst/>
                  <a:gdLst>
                    <a:gd name="T0" fmla="*/ 200 w 400"/>
                    <a:gd name="T1" fmla="*/ 50 h 400"/>
                    <a:gd name="T2" fmla="*/ 350 w 400"/>
                    <a:gd name="T3" fmla="*/ 200 h 400"/>
                    <a:gd name="T4" fmla="*/ 200 w 400"/>
                    <a:gd name="T5" fmla="*/ 350 h 400"/>
                    <a:gd name="T6" fmla="*/ 50 w 400"/>
                    <a:gd name="T7" fmla="*/ 200 h 400"/>
                    <a:gd name="T8" fmla="*/ 200 w 400"/>
                    <a:gd name="T9" fmla="*/ 50 h 400"/>
                    <a:gd name="T10" fmla="*/ 200 w 400"/>
                    <a:gd name="T11" fmla="*/ 0 h 400"/>
                    <a:gd name="T12" fmla="*/ 0 w 400"/>
                    <a:gd name="T13" fmla="*/ 200 h 400"/>
                    <a:gd name="T14" fmla="*/ 200 w 400"/>
                    <a:gd name="T15" fmla="*/ 400 h 400"/>
                    <a:gd name="T16" fmla="*/ 400 w 400"/>
                    <a:gd name="T17" fmla="*/ 200 h 400"/>
                    <a:gd name="T18" fmla="*/ 200 w 400"/>
                    <a:gd name="T19" fmla="*/ 0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0" h="400">
                      <a:moveTo>
                        <a:pt x="200" y="50"/>
                      </a:moveTo>
                      <a:cubicBezTo>
                        <a:pt x="283" y="50"/>
                        <a:pt x="350" y="117"/>
                        <a:pt x="350" y="200"/>
                      </a:cubicBezTo>
                      <a:cubicBezTo>
                        <a:pt x="350" y="283"/>
                        <a:pt x="283" y="350"/>
                        <a:pt x="200" y="350"/>
                      </a:cubicBezTo>
                      <a:cubicBezTo>
                        <a:pt x="117" y="350"/>
                        <a:pt x="50" y="283"/>
                        <a:pt x="50" y="200"/>
                      </a:cubicBezTo>
                      <a:cubicBezTo>
                        <a:pt x="50" y="117"/>
                        <a:pt x="117" y="50"/>
                        <a:pt x="200" y="50"/>
                      </a:cubicBezTo>
                      <a:close/>
                      <a:moveTo>
                        <a:pt x="200" y="0"/>
                      </a:moveTo>
                      <a:cubicBezTo>
                        <a:pt x="90" y="0"/>
                        <a:pt x="0" y="90"/>
                        <a:pt x="0" y="200"/>
                      </a:cubicBezTo>
                      <a:cubicBezTo>
                        <a:pt x="0" y="310"/>
                        <a:pt x="90" y="400"/>
                        <a:pt x="200" y="400"/>
                      </a:cubicBezTo>
                      <a:cubicBezTo>
                        <a:pt x="310" y="400"/>
                        <a:pt x="400" y="310"/>
                        <a:pt x="400" y="200"/>
                      </a:cubicBezTo>
                      <a:cubicBezTo>
                        <a:pt x="400" y="90"/>
                        <a:pt x="310" y="0"/>
                        <a:pt x="20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3" name="Clock3">
                  <a:extLst>
                    <a:ext uri="{FF2B5EF4-FFF2-40B4-BE49-F238E27FC236}">
                      <a16:creationId xmlns:a16="http://schemas.microsoft.com/office/drawing/2014/main" id="{14768437-D082-4751-8687-0F6390BC8081}"/>
                    </a:ext>
                  </a:extLst>
                </p:cNvPr>
                <p:cNvSpPr>
                  <a:spLocks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27" y="189"/>
                  <a:ext cx="96" cy="109"/>
                </a:xfrm>
                <a:custGeom>
                  <a:avLst/>
                  <a:gdLst>
                    <a:gd name="T0" fmla="*/ 102 w 123"/>
                    <a:gd name="T1" fmla="*/ 140 h 140"/>
                    <a:gd name="T2" fmla="*/ 92 w 123"/>
                    <a:gd name="T3" fmla="*/ 138 h 140"/>
                    <a:gd name="T4" fmla="*/ 0 w 123"/>
                    <a:gd name="T5" fmla="*/ 80 h 140"/>
                    <a:gd name="T6" fmla="*/ 0 w 123"/>
                    <a:gd name="T7" fmla="*/ 19 h 140"/>
                    <a:gd name="T8" fmla="*/ 19 w 123"/>
                    <a:gd name="T9" fmla="*/ 0 h 140"/>
                    <a:gd name="T10" fmla="*/ 38 w 123"/>
                    <a:gd name="T11" fmla="*/ 19 h 140"/>
                    <a:gd name="T12" fmla="*/ 38 w 123"/>
                    <a:gd name="T13" fmla="*/ 59 h 140"/>
                    <a:gd name="T14" fmla="*/ 112 w 123"/>
                    <a:gd name="T15" fmla="*/ 105 h 140"/>
                    <a:gd name="T16" fmla="*/ 118 w 123"/>
                    <a:gd name="T17" fmla="*/ 132 h 140"/>
                    <a:gd name="T18" fmla="*/ 102 w 123"/>
                    <a:gd name="T19" fmla="*/ 14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40">
                      <a:moveTo>
                        <a:pt x="102" y="140"/>
                      </a:moveTo>
                      <a:cubicBezTo>
                        <a:pt x="98" y="140"/>
                        <a:pt x="94" y="139"/>
                        <a:pt x="92" y="138"/>
                      </a:cubicBezTo>
                      <a:lnTo>
                        <a:pt x="0" y="80"/>
                      </a:lnTo>
                      <a:lnTo>
                        <a:pt x="0" y="19"/>
                      </a:lnTo>
                      <a:cubicBezTo>
                        <a:pt x="0" y="9"/>
                        <a:pt x="9" y="0"/>
                        <a:pt x="19" y="0"/>
                      </a:cubicBezTo>
                      <a:cubicBezTo>
                        <a:pt x="29" y="0"/>
                        <a:pt x="38" y="9"/>
                        <a:pt x="38" y="19"/>
                      </a:cubicBezTo>
                      <a:lnTo>
                        <a:pt x="38" y="59"/>
                      </a:lnTo>
                      <a:lnTo>
                        <a:pt x="112" y="105"/>
                      </a:lnTo>
                      <a:cubicBezTo>
                        <a:pt x="120" y="110"/>
                        <a:pt x="123" y="123"/>
                        <a:pt x="118" y="132"/>
                      </a:cubicBezTo>
                      <a:cubicBezTo>
                        <a:pt x="114" y="137"/>
                        <a:pt x="108" y="140"/>
                        <a:pt x="102" y="14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4" name="Clock3">
                  <a:extLst>
                    <a:ext uri="{FF2B5EF4-FFF2-40B4-BE49-F238E27FC236}">
                      <a16:creationId xmlns:a16="http://schemas.microsoft.com/office/drawing/2014/main" id="{8D3C6754-6112-47C2-9745-0566B073F0F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33" y="135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5" name="Clock3">
                  <a:extLst>
                    <a:ext uri="{FF2B5EF4-FFF2-40B4-BE49-F238E27FC236}">
                      <a16:creationId xmlns:a16="http://schemas.microsoft.com/office/drawing/2014/main" id="{582B2363-824A-40E5-A296-2EB838BD74B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135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6" name="Clock3">
                  <a:extLst>
                    <a:ext uri="{FF2B5EF4-FFF2-40B4-BE49-F238E27FC236}">
                      <a16:creationId xmlns:a16="http://schemas.microsoft.com/office/drawing/2014/main" id="{8C772469-40C8-42C8-BAE5-56D61AF2BB8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233" y="331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7" name="Clock3">
                  <a:extLst>
                    <a:ext uri="{FF2B5EF4-FFF2-40B4-BE49-F238E27FC236}">
                      <a16:creationId xmlns:a16="http://schemas.microsoft.com/office/drawing/2014/main" id="{8B169E4B-7EC7-479A-9D68-823177498C9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330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8" name="Distribution_Site">
                <a:extLst>
                  <a:ext uri="{FF2B5EF4-FFF2-40B4-BE49-F238E27FC236}">
                    <a16:creationId xmlns:a16="http://schemas.microsoft.com/office/drawing/2014/main" id="{651E532E-3DF9-4BCF-B40B-BF7886AB0155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 bwMode="auto">
              <a:xfrm>
                <a:off x="3466941" y="3283442"/>
                <a:ext cx="310106" cy="310106"/>
                <a:chOff x="8" y="8"/>
                <a:chExt cx="470" cy="470"/>
              </a:xfrm>
              <a:solidFill>
                <a:schemeClr val="bg1"/>
              </a:solidFill>
            </p:grpSpPr>
            <p:sp>
              <p:nvSpPr>
                <p:cNvPr id="449" name="Distribution_Site">
                  <a:extLst>
                    <a:ext uri="{FF2B5EF4-FFF2-40B4-BE49-F238E27FC236}">
                      <a16:creationId xmlns:a16="http://schemas.microsoft.com/office/drawing/2014/main" id="{A0243B04-3AEE-4EC0-9313-B123E7AAB981}"/>
                    </a:ext>
                  </a:extLst>
                </p:cNvPr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8" y="8"/>
                  <a:ext cx="470" cy="157"/>
                </a:xfrm>
                <a:custGeom>
                  <a:avLst/>
                  <a:gdLst>
                    <a:gd name="T0" fmla="*/ 1198 w 1250"/>
                    <a:gd name="T1" fmla="*/ 416 h 416"/>
                    <a:gd name="T2" fmla="*/ 625 w 1250"/>
                    <a:gd name="T3" fmla="*/ 131 h 416"/>
                    <a:gd name="T4" fmla="*/ 52 w 1250"/>
                    <a:gd name="T5" fmla="*/ 416 h 416"/>
                    <a:gd name="T6" fmla="*/ 0 w 1250"/>
                    <a:gd name="T7" fmla="*/ 311 h 416"/>
                    <a:gd name="T8" fmla="*/ 624 w 1250"/>
                    <a:gd name="T9" fmla="*/ 1 h 416"/>
                    <a:gd name="T10" fmla="*/ 624 w 1250"/>
                    <a:gd name="T11" fmla="*/ 0 h 416"/>
                    <a:gd name="T12" fmla="*/ 625 w 1250"/>
                    <a:gd name="T13" fmla="*/ 0 h 416"/>
                    <a:gd name="T14" fmla="*/ 626 w 1250"/>
                    <a:gd name="T15" fmla="*/ 0 h 416"/>
                    <a:gd name="T16" fmla="*/ 626 w 1250"/>
                    <a:gd name="T17" fmla="*/ 1 h 416"/>
                    <a:gd name="T18" fmla="*/ 1250 w 1250"/>
                    <a:gd name="T19" fmla="*/ 311 h 416"/>
                    <a:gd name="T20" fmla="*/ 1198 w 1250"/>
                    <a:gd name="T21" fmla="*/ 416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50" h="416">
                      <a:moveTo>
                        <a:pt x="1198" y="416"/>
                      </a:moveTo>
                      <a:lnTo>
                        <a:pt x="625" y="131"/>
                      </a:lnTo>
                      <a:lnTo>
                        <a:pt x="52" y="416"/>
                      </a:lnTo>
                      <a:lnTo>
                        <a:pt x="0" y="311"/>
                      </a:lnTo>
                      <a:lnTo>
                        <a:pt x="624" y="1"/>
                      </a:lnTo>
                      <a:lnTo>
                        <a:pt x="624" y="0"/>
                      </a:lnTo>
                      <a:lnTo>
                        <a:pt x="625" y="0"/>
                      </a:lnTo>
                      <a:lnTo>
                        <a:pt x="626" y="0"/>
                      </a:lnTo>
                      <a:lnTo>
                        <a:pt x="626" y="1"/>
                      </a:lnTo>
                      <a:lnTo>
                        <a:pt x="1250" y="311"/>
                      </a:lnTo>
                      <a:lnTo>
                        <a:pt x="1198" y="41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0" name="Distribution_Site">
                  <a:extLst>
                    <a:ext uri="{FF2B5EF4-FFF2-40B4-BE49-F238E27FC236}">
                      <a16:creationId xmlns:a16="http://schemas.microsoft.com/office/drawing/2014/main" id="{BD92837E-959B-489A-B87C-4356348102E1}"/>
                    </a:ext>
                  </a:extLst>
                </p:cNvPr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33" y="340"/>
                  <a:ext cx="102" cy="115"/>
                </a:xfrm>
                <a:custGeom>
                  <a:avLst/>
                  <a:gdLst>
                    <a:gd name="T0" fmla="*/ 0 w 269"/>
                    <a:gd name="T1" fmla="*/ 171 h 305"/>
                    <a:gd name="T2" fmla="*/ 0 w 269"/>
                    <a:gd name="T3" fmla="*/ 6 h 305"/>
                    <a:gd name="T4" fmla="*/ 132 w 269"/>
                    <a:gd name="T5" fmla="*/ 76 h 305"/>
                    <a:gd name="T6" fmla="*/ 269 w 269"/>
                    <a:gd name="T7" fmla="*/ 0 h 305"/>
                    <a:gd name="T8" fmla="*/ 269 w 269"/>
                    <a:gd name="T9" fmla="*/ 305 h 305"/>
                    <a:gd name="T10" fmla="*/ 0 w 269"/>
                    <a:gd name="T11" fmla="*/ 171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9" h="305">
                      <a:moveTo>
                        <a:pt x="0" y="171"/>
                      </a:moveTo>
                      <a:lnTo>
                        <a:pt x="0" y="6"/>
                      </a:lnTo>
                      <a:lnTo>
                        <a:pt x="132" y="76"/>
                      </a:lnTo>
                      <a:lnTo>
                        <a:pt x="269" y="0"/>
                      </a:lnTo>
                      <a:lnTo>
                        <a:pt x="269" y="305"/>
                      </a:lnTo>
                      <a:lnTo>
                        <a:pt x="0" y="17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1" name="Distribution_Site">
                  <a:extLst>
                    <a:ext uri="{FF2B5EF4-FFF2-40B4-BE49-F238E27FC236}">
                      <a16:creationId xmlns:a16="http://schemas.microsoft.com/office/drawing/2014/main" id="{76F38960-BD21-4FA9-8F69-A96333AA018E}"/>
                    </a:ext>
                  </a:extLst>
                </p:cNvPr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251" y="340"/>
                  <a:ext cx="101" cy="115"/>
                </a:xfrm>
                <a:custGeom>
                  <a:avLst/>
                  <a:gdLst>
                    <a:gd name="T0" fmla="*/ 268 w 268"/>
                    <a:gd name="T1" fmla="*/ 171 h 304"/>
                    <a:gd name="T2" fmla="*/ 0 w 268"/>
                    <a:gd name="T3" fmla="*/ 304 h 304"/>
                    <a:gd name="T4" fmla="*/ 0 w 268"/>
                    <a:gd name="T5" fmla="*/ 0 h 304"/>
                    <a:gd name="T6" fmla="*/ 137 w 268"/>
                    <a:gd name="T7" fmla="*/ 76 h 304"/>
                    <a:gd name="T8" fmla="*/ 268 w 268"/>
                    <a:gd name="T9" fmla="*/ 6 h 304"/>
                    <a:gd name="T10" fmla="*/ 268 w 268"/>
                    <a:gd name="T11" fmla="*/ 171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8" h="304">
                      <a:moveTo>
                        <a:pt x="268" y="171"/>
                      </a:moveTo>
                      <a:lnTo>
                        <a:pt x="0" y="304"/>
                      </a:lnTo>
                      <a:lnTo>
                        <a:pt x="0" y="0"/>
                      </a:lnTo>
                      <a:lnTo>
                        <a:pt x="137" y="76"/>
                      </a:lnTo>
                      <a:lnTo>
                        <a:pt x="268" y="6"/>
                      </a:lnTo>
                      <a:lnTo>
                        <a:pt x="268" y="17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2" name="Distribution_Site">
                  <a:extLst>
                    <a:ext uri="{FF2B5EF4-FFF2-40B4-BE49-F238E27FC236}">
                      <a16:creationId xmlns:a16="http://schemas.microsoft.com/office/drawing/2014/main" id="{EAD8D669-368C-4C32-B797-A7FCFF763E37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55" y="165"/>
                  <a:ext cx="376" cy="313"/>
                </a:xfrm>
                <a:custGeom>
                  <a:avLst/>
                  <a:gdLst>
                    <a:gd name="T0" fmla="*/ 1000 w 1000"/>
                    <a:gd name="T1" fmla="*/ 184 h 833"/>
                    <a:gd name="T2" fmla="*/ 964 w 1000"/>
                    <a:gd name="T3" fmla="*/ 164 h 833"/>
                    <a:gd name="T4" fmla="*/ 666 w 1000"/>
                    <a:gd name="T5" fmla="*/ 2 h 833"/>
                    <a:gd name="T6" fmla="*/ 502 w 1000"/>
                    <a:gd name="T7" fmla="*/ 91 h 833"/>
                    <a:gd name="T8" fmla="*/ 334 w 1000"/>
                    <a:gd name="T9" fmla="*/ 0 h 833"/>
                    <a:gd name="T10" fmla="*/ 0 w 1000"/>
                    <a:gd name="T11" fmla="*/ 181 h 833"/>
                    <a:gd name="T12" fmla="*/ 36 w 1000"/>
                    <a:gd name="T13" fmla="*/ 201 h 833"/>
                    <a:gd name="T14" fmla="*/ 166 w 1000"/>
                    <a:gd name="T15" fmla="*/ 273 h 833"/>
                    <a:gd name="T16" fmla="*/ 164 w 1000"/>
                    <a:gd name="T17" fmla="*/ 274 h 833"/>
                    <a:gd name="T18" fmla="*/ 164 w 1000"/>
                    <a:gd name="T19" fmla="*/ 274 h 833"/>
                    <a:gd name="T20" fmla="*/ 164 w 1000"/>
                    <a:gd name="T21" fmla="*/ 274 h 833"/>
                    <a:gd name="T22" fmla="*/ 3 w 1000"/>
                    <a:gd name="T23" fmla="*/ 362 h 833"/>
                    <a:gd name="T24" fmla="*/ 164 w 1000"/>
                    <a:gd name="T25" fmla="*/ 448 h 833"/>
                    <a:gd name="T26" fmla="*/ 164 w 1000"/>
                    <a:gd name="T27" fmla="*/ 666 h 833"/>
                    <a:gd name="T28" fmla="*/ 500 w 1000"/>
                    <a:gd name="T29" fmla="*/ 833 h 833"/>
                    <a:gd name="T30" fmla="*/ 836 w 1000"/>
                    <a:gd name="T31" fmla="*/ 666 h 833"/>
                    <a:gd name="T32" fmla="*/ 836 w 1000"/>
                    <a:gd name="T33" fmla="*/ 449 h 833"/>
                    <a:gd name="T34" fmla="*/ 998 w 1000"/>
                    <a:gd name="T35" fmla="*/ 362 h 833"/>
                    <a:gd name="T36" fmla="*/ 837 w 1000"/>
                    <a:gd name="T37" fmla="*/ 274 h 833"/>
                    <a:gd name="T38" fmla="*/ 1000 w 1000"/>
                    <a:gd name="T39" fmla="*/ 184 h 833"/>
                    <a:gd name="T40" fmla="*/ 93 w 1000"/>
                    <a:gd name="T41" fmla="*/ 182 h 833"/>
                    <a:gd name="T42" fmla="*/ 334 w 1000"/>
                    <a:gd name="T43" fmla="*/ 51 h 833"/>
                    <a:gd name="T44" fmla="*/ 453 w 1000"/>
                    <a:gd name="T45" fmla="*/ 116 h 833"/>
                    <a:gd name="T46" fmla="*/ 210 w 1000"/>
                    <a:gd name="T47" fmla="*/ 246 h 833"/>
                    <a:gd name="T48" fmla="*/ 93 w 1000"/>
                    <a:gd name="T49" fmla="*/ 182 h 833"/>
                    <a:gd name="T50" fmla="*/ 340 w 1000"/>
                    <a:gd name="T51" fmla="*/ 492 h 833"/>
                    <a:gd name="T52" fmla="*/ 97 w 1000"/>
                    <a:gd name="T53" fmla="*/ 362 h 833"/>
                    <a:gd name="T54" fmla="*/ 216 w 1000"/>
                    <a:gd name="T55" fmla="*/ 297 h 833"/>
                    <a:gd name="T56" fmla="*/ 459 w 1000"/>
                    <a:gd name="T57" fmla="*/ 428 h 833"/>
                    <a:gd name="T58" fmla="*/ 340 w 1000"/>
                    <a:gd name="T59" fmla="*/ 492 h 833"/>
                    <a:gd name="T60" fmla="*/ 666 w 1000"/>
                    <a:gd name="T61" fmla="*/ 53 h 833"/>
                    <a:gd name="T62" fmla="*/ 906 w 1000"/>
                    <a:gd name="T63" fmla="*/ 184 h 833"/>
                    <a:gd name="T64" fmla="*/ 790 w 1000"/>
                    <a:gd name="T65" fmla="*/ 249 h 833"/>
                    <a:gd name="T66" fmla="*/ 547 w 1000"/>
                    <a:gd name="T67" fmla="*/ 118 h 833"/>
                    <a:gd name="T68" fmla="*/ 666 w 1000"/>
                    <a:gd name="T69" fmla="*/ 53 h 833"/>
                    <a:gd name="T70" fmla="*/ 903 w 1000"/>
                    <a:gd name="T71" fmla="*/ 362 h 833"/>
                    <a:gd name="T72" fmla="*/ 660 w 1000"/>
                    <a:gd name="T73" fmla="*/ 492 h 833"/>
                    <a:gd name="T74" fmla="*/ 544 w 1000"/>
                    <a:gd name="T75" fmla="*/ 428 h 833"/>
                    <a:gd name="T76" fmla="*/ 784 w 1000"/>
                    <a:gd name="T77" fmla="*/ 297 h 833"/>
                    <a:gd name="T78" fmla="*/ 903 w 1000"/>
                    <a:gd name="T79" fmla="*/ 362 h 8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000" h="833">
                      <a:moveTo>
                        <a:pt x="1000" y="184"/>
                      </a:moveTo>
                      <a:lnTo>
                        <a:pt x="964" y="164"/>
                      </a:lnTo>
                      <a:lnTo>
                        <a:pt x="666" y="2"/>
                      </a:lnTo>
                      <a:lnTo>
                        <a:pt x="502" y="91"/>
                      </a:lnTo>
                      <a:lnTo>
                        <a:pt x="334" y="0"/>
                      </a:lnTo>
                      <a:lnTo>
                        <a:pt x="0" y="181"/>
                      </a:lnTo>
                      <a:lnTo>
                        <a:pt x="36" y="201"/>
                      </a:lnTo>
                      <a:lnTo>
                        <a:pt x="166" y="273"/>
                      </a:lnTo>
                      <a:lnTo>
                        <a:pt x="164" y="274"/>
                      </a:lnTo>
                      <a:lnTo>
                        <a:pt x="164" y="274"/>
                      </a:lnTo>
                      <a:lnTo>
                        <a:pt x="164" y="274"/>
                      </a:lnTo>
                      <a:lnTo>
                        <a:pt x="3" y="362"/>
                      </a:lnTo>
                      <a:lnTo>
                        <a:pt x="164" y="448"/>
                      </a:lnTo>
                      <a:lnTo>
                        <a:pt x="164" y="666"/>
                      </a:lnTo>
                      <a:lnTo>
                        <a:pt x="500" y="833"/>
                      </a:lnTo>
                      <a:lnTo>
                        <a:pt x="836" y="666"/>
                      </a:lnTo>
                      <a:lnTo>
                        <a:pt x="836" y="449"/>
                      </a:lnTo>
                      <a:lnTo>
                        <a:pt x="998" y="362"/>
                      </a:lnTo>
                      <a:lnTo>
                        <a:pt x="837" y="274"/>
                      </a:lnTo>
                      <a:lnTo>
                        <a:pt x="1000" y="184"/>
                      </a:lnTo>
                      <a:close/>
                      <a:moveTo>
                        <a:pt x="93" y="182"/>
                      </a:moveTo>
                      <a:lnTo>
                        <a:pt x="334" y="51"/>
                      </a:lnTo>
                      <a:lnTo>
                        <a:pt x="453" y="116"/>
                      </a:lnTo>
                      <a:lnTo>
                        <a:pt x="210" y="246"/>
                      </a:lnTo>
                      <a:lnTo>
                        <a:pt x="93" y="182"/>
                      </a:lnTo>
                      <a:close/>
                      <a:moveTo>
                        <a:pt x="340" y="492"/>
                      </a:moveTo>
                      <a:lnTo>
                        <a:pt x="97" y="362"/>
                      </a:lnTo>
                      <a:lnTo>
                        <a:pt x="216" y="297"/>
                      </a:lnTo>
                      <a:lnTo>
                        <a:pt x="459" y="428"/>
                      </a:lnTo>
                      <a:lnTo>
                        <a:pt x="340" y="492"/>
                      </a:lnTo>
                      <a:close/>
                      <a:moveTo>
                        <a:pt x="666" y="53"/>
                      </a:moveTo>
                      <a:lnTo>
                        <a:pt x="906" y="184"/>
                      </a:lnTo>
                      <a:lnTo>
                        <a:pt x="790" y="249"/>
                      </a:lnTo>
                      <a:lnTo>
                        <a:pt x="547" y="118"/>
                      </a:lnTo>
                      <a:lnTo>
                        <a:pt x="666" y="53"/>
                      </a:lnTo>
                      <a:close/>
                      <a:moveTo>
                        <a:pt x="903" y="362"/>
                      </a:moveTo>
                      <a:lnTo>
                        <a:pt x="660" y="492"/>
                      </a:lnTo>
                      <a:lnTo>
                        <a:pt x="544" y="428"/>
                      </a:lnTo>
                      <a:lnTo>
                        <a:pt x="784" y="297"/>
                      </a:lnTo>
                      <a:lnTo>
                        <a:pt x="903" y="362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53" name="Megaphone2">
                <a:extLst>
                  <a:ext uri="{FF2B5EF4-FFF2-40B4-BE49-F238E27FC236}">
                    <a16:creationId xmlns:a16="http://schemas.microsoft.com/office/drawing/2014/main" id="{DFC30901-D3C1-4325-9B0A-92750FCFA503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8101157" y="4486596"/>
                <a:ext cx="300188" cy="310106"/>
                <a:chOff x="27" y="8"/>
                <a:chExt cx="454" cy="469"/>
              </a:xfrm>
              <a:solidFill>
                <a:schemeClr val="bg1"/>
              </a:solidFill>
            </p:grpSpPr>
            <p:sp>
              <p:nvSpPr>
                <p:cNvPr id="454" name="Megaphone2">
                  <a:extLst>
                    <a:ext uri="{FF2B5EF4-FFF2-40B4-BE49-F238E27FC236}">
                      <a16:creationId xmlns:a16="http://schemas.microsoft.com/office/drawing/2014/main" id="{B9E814DC-E64D-416F-A040-7AE80659C319}"/>
                    </a:ext>
                  </a:extLst>
                </p:cNvPr>
                <p:cNvSpPr>
                  <a:spLocks/>
                </p:cNvSpPr>
                <p:nvPr>
                  <p:custDataLst>
                    <p:tags r:id="rId22"/>
                  </p:custDataLst>
                </p:nvPr>
              </p:nvSpPr>
              <p:spPr bwMode="auto">
                <a:xfrm>
                  <a:off x="105" y="202"/>
                  <a:ext cx="1" cy="0"/>
                </a:xfrm>
                <a:custGeom>
                  <a:avLst/>
                  <a:gdLst>
                    <a:gd name="T0" fmla="*/ 3 w 3"/>
                    <a:gd name="T1" fmla="*/ 0 h 1"/>
                    <a:gd name="T2" fmla="*/ 1 w 3"/>
                    <a:gd name="T3" fmla="*/ 0 h 1"/>
                    <a:gd name="T4" fmla="*/ 0 w 3"/>
                    <a:gd name="T5" fmla="*/ 1 h 1"/>
                    <a:gd name="T6" fmla="*/ 3 w 3"/>
                    <a:gd name="T7" fmla="*/ 0 h 1"/>
                    <a:gd name="T8" fmla="*/ 3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1" y="1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5" name="Megaphone2">
                  <a:extLst>
                    <a:ext uri="{FF2B5EF4-FFF2-40B4-BE49-F238E27FC236}">
                      <a16:creationId xmlns:a16="http://schemas.microsoft.com/office/drawing/2014/main" id="{768D7734-CD7E-4B27-ABC5-86AE958B1D7D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34" y="8"/>
                  <a:ext cx="447" cy="469"/>
                </a:xfrm>
                <a:custGeom>
                  <a:avLst/>
                  <a:gdLst>
                    <a:gd name="T0" fmla="*/ 1139 w 1192"/>
                    <a:gd name="T1" fmla="*/ 461 h 1248"/>
                    <a:gd name="T2" fmla="*/ 881 w 1192"/>
                    <a:gd name="T3" fmla="*/ 18 h 1248"/>
                    <a:gd name="T4" fmla="*/ 801 w 1192"/>
                    <a:gd name="T5" fmla="*/ 146 h 1248"/>
                    <a:gd name="T6" fmla="*/ 219 w 1192"/>
                    <a:gd name="T7" fmla="*/ 507 h 1248"/>
                    <a:gd name="T8" fmla="*/ 193 w 1192"/>
                    <a:gd name="T9" fmla="*/ 516 h 1248"/>
                    <a:gd name="T10" fmla="*/ 203 w 1192"/>
                    <a:gd name="T11" fmla="*/ 864 h 1248"/>
                    <a:gd name="T12" fmla="*/ 203 w 1192"/>
                    <a:gd name="T13" fmla="*/ 864 h 1248"/>
                    <a:gd name="T14" fmla="*/ 208 w 1192"/>
                    <a:gd name="T15" fmla="*/ 865 h 1248"/>
                    <a:gd name="T16" fmla="*/ 305 w 1192"/>
                    <a:gd name="T17" fmla="*/ 901 h 1248"/>
                    <a:gd name="T18" fmla="*/ 370 w 1192"/>
                    <a:gd name="T19" fmla="*/ 1118 h 1248"/>
                    <a:gd name="T20" fmla="*/ 559 w 1192"/>
                    <a:gd name="T21" fmla="*/ 1225 h 1248"/>
                    <a:gd name="T22" fmla="*/ 554 w 1192"/>
                    <a:gd name="T23" fmla="*/ 1178 h 1248"/>
                    <a:gd name="T24" fmla="*/ 561 w 1192"/>
                    <a:gd name="T25" fmla="*/ 1156 h 1248"/>
                    <a:gd name="T26" fmla="*/ 533 w 1192"/>
                    <a:gd name="T27" fmla="*/ 1089 h 1248"/>
                    <a:gd name="T28" fmla="*/ 524 w 1192"/>
                    <a:gd name="T29" fmla="*/ 1026 h 1248"/>
                    <a:gd name="T30" fmla="*/ 484 w 1192"/>
                    <a:gd name="T31" fmla="*/ 973 h 1248"/>
                    <a:gd name="T32" fmla="*/ 485 w 1192"/>
                    <a:gd name="T33" fmla="*/ 925 h 1248"/>
                    <a:gd name="T34" fmla="*/ 480 w 1192"/>
                    <a:gd name="T35" fmla="*/ 835 h 1248"/>
                    <a:gd name="T36" fmla="*/ 1004 w 1192"/>
                    <a:gd name="T37" fmla="*/ 945 h 1248"/>
                    <a:gd name="T38" fmla="*/ 1023 w 1192"/>
                    <a:gd name="T39" fmla="*/ 958 h 1248"/>
                    <a:gd name="T40" fmla="*/ 1024 w 1192"/>
                    <a:gd name="T41" fmla="*/ 959 h 1248"/>
                    <a:gd name="T42" fmla="*/ 1037 w 1192"/>
                    <a:gd name="T43" fmla="*/ 965 h 1248"/>
                    <a:gd name="T44" fmla="*/ 1074 w 1192"/>
                    <a:gd name="T45" fmla="*/ 969 h 1248"/>
                    <a:gd name="T46" fmla="*/ 1139 w 1192"/>
                    <a:gd name="T47" fmla="*/ 461 h 1248"/>
                    <a:gd name="T48" fmla="*/ 866 w 1192"/>
                    <a:gd name="T49" fmla="*/ 856 h 1248"/>
                    <a:gd name="T50" fmla="*/ 751 w 1192"/>
                    <a:gd name="T51" fmla="*/ 832 h 1248"/>
                    <a:gd name="T52" fmla="*/ 512 w 1192"/>
                    <a:gd name="T53" fmla="*/ 819 h 1248"/>
                    <a:gd name="T54" fmla="*/ 433 w 1192"/>
                    <a:gd name="T55" fmla="*/ 783 h 1248"/>
                    <a:gd name="T56" fmla="*/ 378 w 1192"/>
                    <a:gd name="T57" fmla="*/ 726 h 1248"/>
                    <a:gd name="T58" fmla="*/ 370 w 1192"/>
                    <a:gd name="T59" fmla="*/ 538 h 1248"/>
                    <a:gd name="T60" fmla="*/ 430 w 1192"/>
                    <a:gd name="T61" fmla="*/ 457 h 1248"/>
                    <a:gd name="T62" fmla="*/ 550 w 1192"/>
                    <a:gd name="T63" fmla="*/ 389 h 1248"/>
                    <a:gd name="T64" fmla="*/ 737 w 1192"/>
                    <a:gd name="T65" fmla="*/ 253 h 1248"/>
                    <a:gd name="T66" fmla="*/ 809 w 1192"/>
                    <a:gd name="T67" fmla="*/ 160 h 1248"/>
                    <a:gd name="T68" fmla="*/ 808 w 1192"/>
                    <a:gd name="T69" fmla="*/ 174 h 1248"/>
                    <a:gd name="T70" fmla="*/ 808 w 1192"/>
                    <a:gd name="T71" fmla="*/ 171 h 1248"/>
                    <a:gd name="T72" fmla="*/ 801 w 1192"/>
                    <a:gd name="T73" fmla="*/ 231 h 1248"/>
                    <a:gd name="T74" fmla="*/ 929 w 1192"/>
                    <a:gd name="T75" fmla="*/ 833 h 1248"/>
                    <a:gd name="T76" fmla="*/ 956 w 1192"/>
                    <a:gd name="T77" fmla="*/ 883 h 1248"/>
                    <a:gd name="T78" fmla="*/ 954 w 1192"/>
                    <a:gd name="T79" fmla="*/ 880 h 1248"/>
                    <a:gd name="T80" fmla="*/ 962 w 1192"/>
                    <a:gd name="T81" fmla="*/ 895 h 1248"/>
                    <a:gd name="T82" fmla="*/ 866 w 1192"/>
                    <a:gd name="T83" fmla="*/ 856 h 1248"/>
                    <a:gd name="T84" fmla="*/ 988 w 1192"/>
                    <a:gd name="T85" fmla="*/ 800 h 1248"/>
                    <a:gd name="T86" fmla="*/ 978 w 1192"/>
                    <a:gd name="T87" fmla="*/ 799 h 1248"/>
                    <a:gd name="T88" fmla="*/ 978 w 1192"/>
                    <a:gd name="T89" fmla="*/ 799 h 1248"/>
                    <a:gd name="T90" fmla="*/ 847 w 1192"/>
                    <a:gd name="T91" fmla="*/ 542 h 1248"/>
                    <a:gd name="T92" fmla="*/ 851 w 1192"/>
                    <a:gd name="T93" fmla="*/ 255 h 1248"/>
                    <a:gd name="T94" fmla="*/ 861 w 1192"/>
                    <a:gd name="T95" fmla="*/ 256 h 1248"/>
                    <a:gd name="T96" fmla="*/ 861 w 1192"/>
                    <a:gd name="T97" fmla="*/ 256 h 1248"/>
                    <a:gd name="T98" fmla="*/ 992 w 1192"/>
                    <a:gd name="T99" fmla="*/ 512 h 1248"/>
                    <a:gd name="T100" fmla="*/ 988 w 1192"/>
                    <a:gd name="T101" fmla="*/ 80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192" h="1248">
                      <a:moveTo>
                        <a:pt x="1139" y="461"/>
                      </a:moveTo>
                      <a:cubicBezTo>
                        <a:pt x="1086" y="198"/>
                        <a:pt x="971" y="0"/>
                        <a:pt x="881" y="18"/>
                      </a:cubicBezTo>
                      <a:cubicBezTo>
                        <a:pt x="843" y="25"/>
                        <a:pt x="815" y="73"/>
                        <a:pt x="801" y="146"/>
                      </a:cubicBezTo>
                      <a:cubicBezTo>
                        <a:pt x="754" y="199"/>
                        <a:pt x="564" y="396"/>
                        <a:pt x="219" y="507"/>
                      </a:cubicBezTo>
                      <a:cubicBezTo>
                        <a:pt x="211" y="510"/>
                        <a:pt x="202" y="513"/>
                        <a:pt x="193" y="516"/>
                      </a:cubicBezTo>
                      <a:cubicBezTo>
                        <a:pt x="0" y="700"/>
                        <a:pt x="203" y="864"/>
                        <a:pt x="203" y="864"/>
                      </a:cubicBezTo>
                      <a:lnTo>
                        <a:pt x="203" y="864"/>
                      </a:lnTo>
                      <a:cubicBezTo>
                        <a:pt x="205" y="864"/>
                        <a:pt x="206" y="864"/>
                        <a:pt x="208" y="865"/>
                      </a:cubicBezTo>
                      <a:cubicBezTo>
                        <a:pt x="236" y="867"/>
                        <a:pt x="291" y="871"/>
                        <a:pt x="305" y="901"/>
                      </a:cubicBezTo>
                      <a:cubicBezTo>
                        <a:pt x="305" y="901"/>
                        <a:pt x="362" y="976"/>
                        <a:pt x="370" y="1118"/>
                      </a:cubicBezTo>
                      <a:cubicBezTo>
                        <a:pt x="370" y="1118"/>
                        <a:pt x="390" y="1248"/>
                        <a:pt x="559" y="1225"/>
                      </a:cubicBezTo>
                      <a:cubicBezTo>
                        <a:pt x="559" y="1225"/>
                        <a:pt x="583" y="1193"/>
                        <a:pt x="554" y="1178"/>
                      </a:cubicBezTo>
                      <a:cubicBezTo>
                        <a:pt x="554" y="1178"/>
                        <a:pt x="545" y="1151"/>
                        <a:pt x="561" y="1156"/>
                      </a:cubicBezTo>
                      <a:cubicBezTo>
                        <a:pt x="561" y="1156"/>
                        <a:pt x="578" y="1103"/>
                        <a:pt x="533" y="1089"/>
                      </a:cubicBezTo>
                      <a:lnTo>
                        <a:pt x="524" y="1026"/>
                      </a:lnTo>
                      <a:cubicBezTo>
                        <a:pt x="524" y="1026"/>
                        <a:pt x="497" y="1004"/>
                        <a:pt x="484" y="973"/>
                      </a:cubicBezTo>
                      <a:lnTo>
                        <a:pt x="485" y="925"/>
                      </a:lnTo>
                      <a:cubicBezTo>
                        <a:pt x="485" y="925"/>
                        <a:pt x="424" y="888"/>
                        <a:pt x="480" y="835"/>
                      </a:cubicBezTo>
                      <a:cubicBezTo>
                        <a:pt x="480" y="835"/>
                        <a:pt x="826" y="828"/>
                        <a:pt x="1004" y="945"/>
                      </a:cubicBezTo>
                      <a:cubicBezTo>
                        <a:pt x="1010" y="950"/>
                        <a:pt x="1016" y="955"/>
                        <a:pt x="1023" y="958"/>
                      </a:cubicBezTo>
                      <a:cubicBezTo>
                        <a:pt x="1023" y="958"/>
                        <a:pt x="1023" y="959"/>
                        <a:pt x="1024" y="959"/>
                      </a:cubicBezTo>
                      <a:cubicBezTo>
                        <a:pt x="1028" y="962"/>
                        <a:pt x="1032" y="964"/>
                        <a:pt x="1037" y="965"/>
                      </a:cubicBezTo>
                      <a:cubicBezTo>
                        <a:pt x="1050" y="970"/>
                        <a:pt x="1062" y="972"/>
                        <a:pt x="1074" y="969"/>
                      </a:cubicBezTo>
                      <a:cubicBezTo>
                        <a:pt x="1163" y="951"/>
                        <a:pt x="1192" y="724"/>
                        <a:pt x="1139" y="461"/>
                      </a:cubicBezTo>
                      <a:close/>
                      <a:moveTo>
                        <a:pt x="866" y="856"/>
                      </a:moveTo>
                      <a:cubicBezTo>
                        <a:pt x="828" y="845"/>
                        <a:pt x="790" y="838"/>
                        <a:pt x="751" y="832"/>
                      </a:cubicBezTo>
                      <a:cubicBezTo>
                        <a:pt x="673" y="821"/>
                        <a:pt x="592" y="817"/>
                        <a:pt x="512" y="819"/>
                      </a:cubicBezTo>
                      <a:cubicBezTo>
                        <a:pt x="490" y="819"/>
                        <a:pt x="452" y="795"/>
                        <a:pt x="433" y="783"/>
                      </a:cubicBezTo>
                      <a:cubicBezTo>
                        <a:pt x="411" y="768"/>
                        <a:pt x="392" y="749"/>
                        <a:pt x="378" y="726"/>
                      </a:cubicBezTo>
                      <a:cubicBezTo>
                        <a:pt x="342" y="668"/>
                        <a:pt x="340" y="599"/>
                        <a:pt x="370" y="538"/>
                      </a:cubicBezTo>
                      <a:cubicBezTo>
                        <a:pt x="385" y="507"/>
                        <a:pt x="402" y="477"/>
                        <a:pt x="430" y="457"/>
                      </a:cubicBezTo>
                      <a:cubicBezTo>
                        <a:pt x="468" y="431"/>
                        <a:pt x="511" y="413"/>
                        <a:pt x="550" y="389"/>
                      </a:cubicBezTo>
                      <a:cubicBezTo>
                        <a:pt x="615" y="347"/>
                        <a:pt x="677" y="302"/>
                        <a:pt x="737" y="253"/>
                      </a:cubicBezTo>
                      <a:cubicBezTo>
                        <a:pt x="749" y="243"/>
                        <a:pt x="807" y="177"/>
                        <a:pt x="809" y="160"/>
                      </a:cubicBezTo>
                      <a:cubicBezTo>
                        <a:pt x="809" y="165"/>
                        <a:pt x="808" y="169"/>
                        <a:pt x="808" y="174"/>
                      </a:cubicBezTo>
                      <a:cubicBezTo>
                        <a:pt x="808" y="173"/>
                        <a:pt x="808" y="172"/>
                        <a:pt x="808" y="171"/>
                      </a:cubicBezTo>
                      <a:cubicBezTo>
                        <a:pt x="805" y="191"/>
                        <a:pt x="803" y="211"/>
                        <a:pt x="801" y="231"/>
                      </a:cubicBezTo>
                      <a:cubicBezTo>
                        <a:pt x="781" y="485"/>
                        <a:pt x="877" y="724"/>
                        <a:pt x="929" y="833"/>
                      </a:cubicBezTo>
                      <a:cubicBezTo>
                        <a:pt x="945" y="865"/>
                        <a:pt x="956" y="883"/>
                        <a:pt x="956" y="883"/>
                      </a:cubicBezTo>
                      <a:cubicBezTo>
                        <a:pt x="955" y="882"/>
                        <a:pt x="954" y="881"/>
                        <a:pt x="954" y="880"/>
                      </a:cubicBezTo>
                      <a:cubicBezTo>
                        <a:pt x="959" y="890"/>
                        <a:pt x="962" y="895"/>
                        <a:pt x="962" y="895"/>
                      </a:cubicBezTo>
                      <a:cubicBezTo>
                        <a:pt x="948" y="874"/>
                        <a:pt x="888" y="862"/>
                        <a:pt x="866" y="856"/>
                      </a:cubicBezTo>
                      <a:close/>
                      <a:moveTo>
                        <a:pt x="988" y="800"/>
                      </a:moveTo>
                      <a:cubicBezTo>
                        <a:pt x="985" y="800"/>
                        <a:pt x="982" y="800"/>
                        <a:pt x="978" y="799"/>
                      </a:cubicBezTo>
                      <a:cubicBezTo>
                        <a:pt x="978" y="799"/>
                        <a:pt x="978" y="799"/>
                        <a:pt x="978" y="799"/>
                      </a:cubicBezTo>
                      <a:cubicBezTo>
                        <a:pt x="941" y="807"/>
                        <a:pt x="883" y="693"/>
                        <a:pt x="847" y="542"/>
                      </a:cubicBezTo>
                      <a:cubicBezTo>
                        <a:pt x="812" y="392"/>
                        <a:pt x="814" y="263"/>
                        <a:pt x="851" y="255"/>
                      </a:cubicBezTo>
                      <a:cubicBezTo>
                        <a:pt x="854" y="254"/>
                        <a:pt x="857" y="255"/>
                        <a:pt x="861" y="256"/>
                      </a:cubicBezTo>
                      <a:cubicBezTo>
                        <a:pt x="861" y="256"/>
                        <a:pt x="861" y="256"/>
                        <a:pt x="861" y="256"/>
                      </a:cubicBezTo>
                      <a:cubicBezTo>
                        <a:pt x="898" y="247"/>
                        <a:pt x="956" y="362"/>
                        <a:pt x="992" y="512"/>
                      </a:cubicBezTo>
                      <a:cubicBezTo>
                        <a:pt x="1027" y="662"/>
                        <a:pt x="1025" y="791"/>
                        <a:pt x="988" y="80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6" name="Megaphone2">
                  <a:extLst>
                    <a:ext uri="{FF2B5EF4-FFF2-40B4-BE49-F238E27FC236}">
                      <a16:creationId xmlns:a16="http://schemas.microsoft.com/office/drawing/2014/main" id="{91C900B1-9195-471F-A0A2-50461E100B37}"/>
                    </a:ext>
                  </a:extLst>
                </p:cNvPr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27" y="199"/>
                  <a:ext cx="84" cy="141"/>
                </a:xfrm>
                <a:custGeom>
                  <a:avLst/>
                  <a:gdLst>
                    <a:gd name="T0" fmla="*/ 210 w 225"/>
                    <a:gd name="T1" fmla="*/ 356 h 376"/>
                    <a:gd name="T2" fmla="*/ 82 w 225"/>
                    <a:gd name="T3" fmla="*/ 182 h 376"/>
                    <a:gd name="T4" fmla="*/ 202 w 225"/>
                    <a:gd name="T5" fmla="*/ 9 h 376"/>
                    <a:gd name="T6" fmla="*/ 154 w 225"/>
                    <a:gd name="T7" fmla="*/ 0 h 376"/>
                    <a:gd name="T8" fmla="*/ 0 w 225"/>
                    <a:gd name="T9" fmla="*/ 188 h 376"/>
                    <a:gd name="T10" fmla="*/ 154 w 225"/>
                    <a:gd name="T11" fmla="*/ 376 h 376"/>
                    <a:gd name="T12" fmla="*/ 225 w 225"/>
                    <a:gd name="T13" fmla="*/ 354 h 376"/>
                    <a:gd name="T14" fmla="*/ 210 w 225"/>
                    <a:gd name="T15" fmla="*/ 356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25" h="376">
                      <a:moveTo>
                        <a:pt x="210" y="356"/>
                      </a:moveTo>
                      <a:cubicBezTo>
                        <a:pt x="139" y="356"/>
                        <a:pt x="82" y="278"/>
                        <a:pt x="82" y="182"/>
                      </a:cubicBezTo>
                      <a:cubicBezTo>
                        <a:pt x="82" y="90"/>
                        <a:pt x="135" y="15"/>
                        <a:pt x="202" y="9"/>
                      </a:cubicBezTo>
                      <a:cubicBezTo>
                        <a:pt x="187" y="3"/>
                        <a:pt x="170" y="0"/>
                        <a:pt x="154" y="0"/>
                      </a:cubicBezTo>
                      <a:cubicBezTo>
                        <a:pt x="69" y="0"/>
                        <a:pt x="0" y="84"/>
                        <a:pt x="0" y="188"/>
                      </a:cubicBezTo>
                      <a:cubicBezTo>
                        <a:pt x="0" y="292"/>
                        <a:pt x="69" y="376"/>
                        <a:pt x="154" y="376"/>
                      </a:cubicBezTo>
                      <a:cubicBezTo>
                        <a:pt x="179" y="376"/>
                        <a:pt x="204" y="368"/>
                        <a:pt x="225" y="354"/>
                      </a:cubicBezTo>
                      <a:cubicBezTo>
                        <a:pt x="220" y="355"/>
                        <a:pt x="215" y="356"/>
                        <a:pt x="210" y="35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57" name="Tools3">
                <a:extLst>
                  <a:ext uri="{FF2B5EF4-FFF2-40B4-BE49-F238E27FC236}">
                    <a16:creationId xmlns:a16="http://schemas.microsoft.com/office/drawing/2014/main" id="{43852344-5C85-46B3-9889-24C40B3C8D0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798033" y="4548821"/>
                <a:ext cx="228804" cy="223592"/>
              </a:xfrm>
              <a:custGeom>
                <a:avLst/>
                <a:gdLst>
                  <a:gd name="T0" fmla="*/ 250 w 2000"/>
                  <a:gd name="T1" fmla="*/ 0 h 1950"/>
                  <a:gd name="T2" fmla="*/ 225 w 2000"/>
                  <a:gd name="T3" fmla="*/ 50 h 1950"/>
                  <a:gd name="T4" fmla="*/ 488 w 2000"/>
                  <a:gd name="T5" fmla="*/ 200 h 1950"/>
                  <a:gd name="T6" fmla="*/ 325 w 2000"/>
                  <a:gd name="T7" fmla="*/ 488 h 1950"/>
                  <a:gd name="T8" fmla="*/ 63 w 2000"/>
                  <a:gd name="T9" fmla="*/ 338 h 1950"/>
                  <a:gd name="T10" fmla="*/ 50 w 2000"/>
                  <a:gd name="T11" fmla="*/ 363 h 1950"/>
                  <a:gd name="T12" fmla="*/ 488 w 2000"/>
                  <a:gd name="T13" fmla="*/ 675 h 1950"/>
                  <a:gd name="T14" fmla="*/ 838 w 2000"/>
                  <a:gd name="T15" fmla="*/ 963 h 1950"/>
                  <a:gd name="T16" fmla="*/ 1038 w 2000"/>
                  <a:gd name="T17" fmla="*/ 763 h 1950"/>
                  <a:gd name="T18" fmla="*/ 713 w 2000"/>
                  <a:gd name="T19" fmla="*/ 375 h 1950"/>
                  <a:gd name="T20" fmla="*/ 250 w 2000"/>
                  <a:gd name="T21" fmla="*/ 0 h 1950"/>
                  <a:gd name="T22" fmla="*/ 1813 w 2000"/>
                  <a:gd name="T23" fmla="*/ 63 h 1950"/>
                  <a:gd name="T24" fmla="*/ 1563 w 2000"/>
                  <a:gd name="T25" fmla="*/ 238 h 1950"/>
                  <a:gd name="T26" fmla="*/ 1538 w 2000"/>
                  <a:gd name="T27" fmla="*/ 338 h 1950"/>
                  <a:gd name="T28" fmla="*/ 813 w 2000"/>
                  <a:gd name="T29" fmla="*/ 1063 h 1950"/>
                  <a:gd name="T30" fmla="*/ 713 w 2000"/>
                  <a:gd name="T31" fmla="*/ 1000 h 1950"/>
                  <a:gd name="T32" fmla="*/ 663 w 2000"/>
                  <a:gd name="T33" fmla="*/ 1050 h 1950"/>
                  <a:gd name="T34" fmla="*/ 413 w 2000"/>
                  <a:gd name="T35" fmla="*/ 1275 h 1950"/>
                  <a:gd name="T36" fmla="*/ 0 w 2000"/>
                  <a:gd name="T37" fmla="*/ 1688 h 1950"/>
                  <a:gd name="T38" fmla="*/ 263 w 2000"/>
                  <a:gd name="T39" fmla="*/ 1950 h 1950"/>
                  <a:gd name="T40" fmla="*/ 675 w 2000"/>
                  <a:gd name="T41" fmla="*/ 1538 h 1950"/>
                  <a:gd name="T42" fmla="*/ 900 w 2000"/>
                  <a:gd name="T43" fmla="*/ 1288 h 1950"/>
                  <a:gd name="T44" fmla="*/ 950 w 2000"/>
                  <a:gd name="T45" fmla="*/ 1238 h 1950"/>
                  <a:gd name="T46" fmla="*/ 888 w 2000"/>
                  <a:gd name="T47" fmla="*/ 1138 h 1950"/>
                  <a:gd name="T48" fmla="*/ 1613 w 2000"/>
                  <a:gd name="T49" fmla="*/ 413 h 1950"/>
                  <a:gd name="T50" fmla="*/ 1713 w 2000"/>
                  <a:gd name="T51" fmla="*/ 388 h 1950"/>
                  <a:gd name="T52" fmla="*/ 1888 w 2000"/>
                  <a:gd name="T53" fmla="*/ 138 h 1950"/>
                  <a:gd name="T54" fmla="*/ 1813 w 2000"/>
                  <a:gd name="T55" fmla="*/ 63 h 1950"/>
                  <a:gd name="T56" fmla="*/ 1188 w 2000"/>
                  <a:gd name="T57" fmla="*/ 913 h 1950"/>
                  <a:gd name="T58" fmla="*/ 988 w 2000"/>
                  <a:gd name="T59" fmla="*/ 1113 h 1950"/>
                  <a:gd name="T60" fmla="*/ 1338 w 2000"/>
                  <a:gd name="T61" fmla="*/ 1525 h 1950"/>
                  <a:gd name="T62" fmla="*/ 1800 w 2000"/>
                  <a:gd name="T63" fmla="*/ 1900 h 1950"/>
                  <a:gd name="T64" fmla="*/ 1825 w 2000"/>
                  <a:gd name="T65" fmla="*/ 1850 h 1950"/>
                  <a:gd name="T66" fmla="*/ 1563 w 2000"/>
                  <a:gd name="T67" fmla="*/ 1700 h 1950"/>
                  <a:gd name="T68" fmla="*/ 1725 w 2000"/>
                  <a:gd name="T69" fmla="*/ 1413 h 1950"/>
                  <a:gd name="T70" fmla="*/ 1988 w 2000"/>
                  <a:gd name="T71" fmla="*/ 1563 h 1950"/>
                  <a:gd name="T72" fmla="*/ 2000 w 2000"/>
                  <a:gd name="T73" fmla="*/ 1538 h 1950"/>
                  <a:gd name="T74" fmla="*/ 1563 w 2000"/>
                  <a:gd name="T75" fmla="*/ 1225 h 1950"/>
                  <a:gd name="T76" fmla="*/ 1188 w 2000"/>
                  <a:gd name="T77" fmla="*/ 913 h 1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00" h="1950">
                    <a:moveTo>
                      <a:pt x="250" y="0"/>
                    </a:moveTo>
                    <a:lnTo>
                      <a:pt x="225" y="50"/>
                    </a:lnTo>
                    <a:lnTo>
                      <a:pt x="488" y="200"/>
                    </a:lnTo>
                    <a:cubicBezTo>
                      <a:pt x="488" y="325"/>
                      <a:pt x="438" y="425"/>
                      <a:pt x="325" y="488"/>
                    </a:cubicBezTo>
                    <a:lnTo>
                      <a:pt x="63" y="338"/>
                    </a:lnTo>
                    <a:lnTo>
                      <a:pt x="50" y="363"/>
                    </a:lnTo>
                    <a:cubicBezTo>
                      <a:pt x="113" y="550"/>
                      <a:pt x="238" y="675"/>
                      <a:pt x="488" y="675"/>
                    </a:cubicBezTo>
                    <a:cubicBezTo>
                      <a:pt x="550" y="675"/>
                      <a:pt x="738" y="863"/>
                      <a:pt x="838" y="963"/>
                    </a:cubicBezTo>
                    <a:lnTo>
                      <a:pt x="1038" y="763"/>
                    </a:lnTo>
                    <a:cubicBezTo>
                      <a:pt x="938" y="663"/>
                      <a:pt x="713" y="438"/>
                      <a:pt x="713" y="375"/>
                    </a:cubicBezTo>
                    <a:cubicBezTo>
                      <a:pt x="713" y="150"/>
                      <a:pt x="650" y="0"/>
                      <a:pt x="250" y="0"/>
                    </a:cubicBezTo>
                    <a:close/>
                    <a:moveTo>
                      <a:pt x="1813" y="63"/>
                    </a:moveTo>
                    <a:lnTo>
                      <a:pt x="1563" y="238"/>
                    </a:lnTo>
                    <a:lnTo>
                      <a:pt x="1538" y="338"/>
                    </a:lnTo>
                    <a:lnTo>
                      <a:pt x="813" y="1063"/>
                    </a:lnTo>
                    <a:lnTo>
                      <a:pt x="713" y="1000"/>
                    </a:lnTo>
                    <a:lnTo>
                      <a:pt x="663" y="1050"/>
                    </a:lnTo>
                    <a:cubicBezTo>
                      <a:pt x="663" y="1200"/>
                      <a:pt x="488" y="1275"/>
                      <a:pt x="413" y="1275"/>
                    </a:cubicBezTo>
                    <a:lnTo>
                      <a:pt x="0" y="1688"/>
                    </a:lnTo>
                    <a:cubicBezTo>
                      <a:pt x="0" y="1813"/>
                      <a:pt x="138" y="1950"/>
                      <a:pt x="263" y="1950"/>
                    </a:cubicBezTo>
                    <a:lnTo>
                      <a:pt x="675" y="1538"/>
                    </a:lnTo>
                    <a:cubicBezTo>
                      <a:pt x="675" y="1463"/>
                      <a:pt x="750" y="1288"/>
                      <a:pt x="900" y="1288"/>
                    </a:cubicBezTo>
                    <a:lnTo>
                      <a:pt x="950" y="1238"/>
                    </a:lnTo>
                    <a:lnTo>
                      <a:pt x="888" y="1138"/>
                    </a:lnTo>
                    <a:lnTo>
                      <a:pt x="1613" y="413"/>
                    </a:lnTo>
                    <a:lnTo>
                      <a:pt x="1713" y="388"/>
                    </a:lnTo>
                    <a:lnTo>
                      <a:pt x="1888" y="138"/>
                    </a:lnTo>
                    <a:lnTo>
                      <a:pt x="1813" y="63"/>
                    </a:lnTo>
                    <a:close/>
                    <a:moveTo>
                      <a:pt x="1188" y="913"/>
                    </a:moveTo>
                    <a:lnTo>
                      <a:pt x="988" y="1113"/>
                    </a:lnTo>
                    <a:cubicBezTo>
                      <a:pt x="1138" y="1263"/>
                      <a:pt x="1338" y="1463"/>
                      <a:pt x="1338" y="1525"/>
                    </a:cubicBezTo>
                    <a:cubicBezTo>
                      <a:pt x="1338" y="1750"/>
                      <a:pt x="1400" y="1900"/>
                      <a:pt x="1800" y="1900"/>
                    </a:cubicBezTo>
                    <a:lnTo>
                      <a:pt x="1825" y="1850"/>
                    </a:lnTo>
                    <a:lnTo>
                      <a:pt x="1563" y="1700"/>
                    </a:lnTo>
                    <a:cubicBezTo>
                      <a:pt x="1563" y="1575"/>
                      <a:pt x="1613" y="1475"/>
                      <a:pt x="1725" y="1413"/>
                    </a:cubicBezTo>
                    <a:lnTo>
                      <a:pt x="1988" y="1563"/>
                    </a:lnTo>
                    <a:lnTo>
                      <a:pt x="2000" y="1538"/>
                    </a:lnTo>
                    <a:cubicBezTo>
                      <a:pt x="1938" y="1350"/>
                      <a:pt x="1813" y="1225"/>
                      <a:pt x="1563" y="1225"/>
                    </a:cubicBezTo>
                    <a:cubicBezTo>
                      <a:pt x="1500" y="1225"/>
                      <a:pt x="1338" y="1063"/>
                      <a:pt x="1188" y="913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58" name="Clipboard6">
                <a:extLst>
                  <a:ext uri="{FF2B5EF4-FFF2-40B4-BE49-F238E27FC236}">
                    <a16:creationId xmlns:a16="http://schemas.microsoft.com/office/drawing/2014/main" id="{F134DD79-12C3-424A-A357-17E4CE59410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7233590" y="5399192"/>
                <a:ext cx="216713" cy="310107"/>
                <a:chOff x="2478" y="664"/>
                <a:chExt cx="2648" cy="2784"/>
              </a:xfrm>
              <a:solidFill>
                <a:schemeClr val="bg1"/>
              </a:solidFill>
            </p:grpSpPr>
            <p:sp>
              <p:nvSpPr>
                <p:cNvPr id="459" name="Rectangle 260">
                  <a:extLst>
                    <a:ext uri="{FF2B5EF4-FFF2-40B4-BE49-F238E27FC236}">
                      <a16:creationId xmlns:a16="http://schemas.microsoft.com/office/drawing/2014/main" id="{B7583EF1-429E-4DDE-82CE-6DD07F88D2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591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0" name="Freeform 261">
                  <a:extLst>
                    <a:ext uri="{FF2B5EF4-FFF2-40B4-BE49-F238E27FC236}">
                      <a16:creationId xmlns:a16="http://schemas.microsoft.com/office/drawing/2014/main" id="{F71FF048-094E-4772-916A-E19D0DC4CF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78" y="664"/>
                  <a:ext cx="2648" cy="2784"/>
                </a:xfrm>
                <a:custGeom>
                  <a:avLst/>
                  <a:gdLst>
                    <a:gd name="T0" fmla="*/ 600 w 667"/>
                    <a:gd name="T1" fmla="*/ 633 h 700"/>
                    <a:gd name="T2" fmla="*/ 67 w 667"/>
                    <a:gd name="T3" fmla="*/ 633 h 700"/>
                    <a:gd name="T4" fmla="*/ 67 w 667"/>
                    <a:gd name="T5" fmla="*/ 100 h 700"/>
                    <a:gd name="T6" fmla="*/ 203 w 667"/>
                    <a:gd name="T7" fmla="*/ 100 h 700"/>
                    <a:gd name="T8" fmla="*/ 250 w 667"/>
                    <a:gd name="T9" fmla="*/ 133 h 700"/>
                    <a:gd name="T10" fmla="*/ 417 w 667"/>
                    <a:gd name="T11" fmla="*/ 133 h 700"/>
                    <a:gd name="T12" fmla="*/ 464 w 667"/>
                    <a:gd name="T13" fmla="*/ 100 h 700"/>
                    <a:gd name="T14" fmla="*/ 600 w 667"/>
                    <a:gd name="T15" fmla="*/ 100 h 700"/>
                    <a:gd name="T16" fmla="*/ 600 w 667"/>
                    <a:gd name="T17" fmla="*/ 633 h 700"/>
                    <a:gd name="T18" fmla="*/ 600 w 667"/>
                    <a:gd name="T19" fmla="*/ 33 h 700"/>
                    <a:gd name="T20" fmla="*/ 467 w 667"/>
                    <a:gd name="T21" fmla="*/ 33 h 700"/>
                    <a:gd name="T22" fmla="*/ 467 w 667"/>
                    <a:gd name="T23" fmla="*/ 0 h 700"/>
                    <a:gd name="T24" fmla="*/ 200 w 667"/>
                    <a:gd name="T25" fmla="*/ 0 h 700"/>
                    <a:gd name="T26" fmla="*/ 200 w 667"/>
                    <a:gd name="T27" fmla="*/ 33 h 700"/>
                    <a:gd name="T28" fmla="*/ 67 w 667"/>
                    <a:gd name="T29" fmla="*/ 33 h 700"/>
                    <a:gd name="T30" fmla="*/ 0 w 667"/>
                    <a:gd name="T31" fmla="*/ 100 h 700"/>
                    <a:gd name="T32" fmla="*/ 0 w 667"/>
                    <a:gd name="T33" fmla="*/ 191 h 700"/>
                    <a:gd name="T34" fmla="*/ 0 w 667"/>
                    <a:gd name="T35" fmla="*/ 633 h 700"/>
                    <a:gd name="T36" fmla="*/ 67 w 667"/>
                    <a:gd name="T37" fmla="*/ 700 h 700"/>
                    <a:gd name="T38" fmla="*/ 600 w 667"/>
                    <a:gd name="T39" fmla="*/ 700 h 700"/>
                    <a:gd name="T40" fmla="*/ 667 w 667"/>
                    <a:gd name="T41" fmla="*/ 633 h 700"/>
                    <a:gd name="T42" fmla="*/ 667 w 667"/>
                    <a:gd name="T43" fmla="*/ 191 h 700"/>
                    <a:gd name="T44" fmla="*/ 667 w 667"/>
                    <a:gd name="T45" fmla="*/ 100 h 700"/>
                    <a:gd name="T46" fmla="*/ 600 w 667"/>
                    <a:gd name="T47" fmla="*/ 33 h 7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67" h="700">
                      <a:moveTo>
                        <a:pt x="600" y="633"/>
                      </a:moveTo>
                      <a:lnTo>
                        <a:pt x="67" y="633"/>
                      </a:lnTo>
                      <a:lnTo>
                        <a:pt x="67" y="100"/>
                      </a:lnTo>
                      <a:lnTo>
                        <a:pt x="203" y="100"/>
                      </a:lnTo>
                      <a:cubicBezTo>
                        <a:pt x="210" y="119"/>
                        <a:pt x="228" y="133"/>
                        <a:pt x="250" y="133"/>
                      </a:cubicBezTo>
                      <a:lnTo>
                        <a:pt x="417" y="133"/>
                      </a:lnTo>
                      <a:cubicBezTo>
                        <a:pt x="438" y="133"/>
                        <a:pt x="457" y="119"/>
                        <a:pt x="464" y="100"/>
                      </a:cubicBezTo>
                      <a:lnTo>
                        <a:pt x="600" y="100"/>
                      </a:lnTo>
                      <a:lnTo>
                        <a:pt x="600" y="633"/>
                      </a:lnTo>
                      <a:close/>
                      <a:moveTo>
                        <a:pt x="600" y="33"/>
                      </a:moveTo>
                      <a:lnTo>
                        <a:pt x="467" y="33"/>
                      </a:lnTo>
                      <a:lnTo>
                        <a:pt x="467" y="0"/>
                      </a:lnTo>
                      <a:lnTo>
                        <a:pt x="200" y="0"/>
                      </a:lnTo>
                      <a:lnTo>
                        <a:pt x="200" y="33"/>
                      </a:lnTo>
                      <a:lnTo>
                        <a:pt x="67" y="33"/>
                      </a:lnTo>
                      <a:cubicBezTo>
                        <a:pt x="30" y="33"/>
                        <a:pt x="0" y="63"/>
                        <a:pt x="0" y="100"/>
                      </a:cubicBezTo>
                      <a:lnTo>
                        <a:pt x="0" y="191"/>
                      </a:lnTo>
                      <a:lnTo>
                        <a:pt x="0" y="633"/>
                      </a:lnTo>
                      <a:cubicBezTo>
                        <a:pt x="0" y="670"/>
                        <a:pt x="30" y="700"/>
                        <a:pt x="67" y="700"/>
                      </a:cubicBezTo>
                      <a:lnTo>
                        <a:pt x="600" y="700"/>
                      </a:lnTo>
                      <a:cubicBezTo>
                        <a:pt x="637" y="700"/>
                        <a:pt x="667" y="670"/>
                        <a:pt x="667" y="633"/>
                      </a:cubicBezTo>
                      <a:lnTo>
                        <a:pt x="667" y="191"/>
                      </a:lnTo>
                      <a:lnTo>
                        <a:pt x="667" y="100"/>
                      </a:lnTo>
                      <a:cubicBezTo>
                        <a:pt x="667" y="63"/>
                        <a:pt x="637" y="33"/>
                        <a:pt x="600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1" name="Rectangle 262">
                  <a:extLst>
                    <a:ext uri="{FF2B5EF4-FFF2-40B4-BE49-F238E27FC236}">
                      <a16:creationId xmlns:a16="http://schemas.microsoft.com/office/drawing/2014/main" id="{DEB5A31D-5DA0-4210-A8EF-36BA9B4EB9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653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2" name="Rectangle 263">
                  <a:extLst>
                    <a:ext uri="{FF2B5EF4-FFF2-40B4-BE49-F238E27FC236}">
                      <a16:creationId xmlns:a16="http://schemas.microsoft.com/office/drawing/2014/main" id="{903BB49E-178E-447E-A047-50B4BA7E7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857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3" name="Rectangle 264">
                  <a:extLst>
                    <a:ext uri="{FF2B5EF4-FFF2-40B4-BE49-F238E27FC236}">
                      <a16:creationId xmlns:a16="http://schemas.microsoft.com/office/drawing/2014/main" id="{85953873-2CEF-4482-B75F-EBE1691A51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386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4" name="Rectangle 265">
                  <a:extLst>
                    <a:ext uri="{FF2B5EF4-FFF2-40B4-BE49-F238E27FC236}">
                      <a16:creationId xmlns:a16="http://schemas.microsoft.com/office/drawing/2014/main" id="{1C47541B-6ED6-4BED-A57F-99C8256B4E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120"/>
                  <a:ext cx="1322" cy="13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65" name="Globe">
                <a:extLst>
                  <a:ext uri="{FF2B5EF4-FFF2-40B4-BE49-F238E27FC236}">
                    <a16:creationId xmlns:a16="http://schemas.microsoft.com/office/drawing/2014/main" id="{4537CFA0-B34A-4907-BE02-EFF358DB9532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8118346" y="2022347"/>
                <a:ext cx="290473" cy="291022"/>
              </a:xfrm>
              <a:custGeom>
                <a:avLst/>
                <a:gdLst>
                  <a:gd name="T0" fmla="*/ 625 w 800"/>
                  <a:gd name="T1" fmla="*/ 375 h 800"/>
                  <a:gd name="T2" fmla="*/ 692 w 800"/>
                  <a:gd name="T3" fmla="*/ 208 h 800"/>
                  <a:gd name="T4" fmla="*/ 691 w 800"/>
                  <a:gd name="T5" fmla="*/ 595 h 800"/>
                  <a:gd name="T6" fmla="*/ 625 w 800"/>
                  <a:gd name="T7" fmla="*/ 425 h 800"/>
                  <a:gd name="T8" fmla="*/ 691 w 800"/>
                  <a:gd name="T9" fmla="*/ 595 h 800"/>
                  <a:gd name="T10" fmla="*/ 593 w 800"/>
                  <a:gd name="T11" fmla="*/ 607 h 800"/>
                  <a:gd name="T12" fmla="*/ 532 w 800"/>
                  <a:gd name="T13" fmla="*/ 724 h 800"/>
                  <a:gd name="T14" fmla="*/ 425 w 800"/>
                  <a:gd name="T15" fmla="*/ 579 h 800"/>
                  <a:gd name="T16" fmla="*/ 516 w 800"/>
                  <a:gd name="T17" fmla="*/ 659 h 800"/>
                  <a:gd name="T18" fmla="*/ 425 w 800"/>
                  <a:gd name="T19" fmla="*/ 425 h 800"/>
                  <a:gd name="T20" fmla="*/ 559 w 800"/>
                  <a:gd name="T21" fmla="*/ 546 h 800"/>
                  <a:gd name="T22" fmla="*/ 425 w 800"/>
                  <a:gd name="T23" fmla="*/ 425 h 800"/>
                  <a:gd name="T24" fmla="*/ 559 w 800"/>
                  <a:gd name="T25" fmla="*/ 257 h 800"/>
                  <a:gd name="T26" fmla="*/ 425 w 800"/>
                  <a:gd name="T27" fmla="*/ 375 h 800"/>
                  <a:gd name="T28" fmla="*/ 425 w 800"/>
                  <a:gd name="T29" fmla="*/ 55 h 800"/>
                  <a:gd name="T30" fmla="*/ 545 w 800"/>
                  <a:gd name="T31" fmla="*/ 209 h 800"/>
                  <a:gd name="T32" fmla="*/ 425 w 800"/>
                  <a:gd name="T33" fmla="*/ 55 h 800"/>
                  <a:gd name="T34" fmla="*/ 594 w 800"/>
                  <a:gd name="T35" fmla="*/ 196 h 800"/>
                  <a:gd name="T36" fmla="*/ 661 w 800"/>
                  <a:gd name="T37" fmla="*/ 168 h 800"/>
                  <a:gd name="T38" fmla="*/ 255 w 800"/>
                  <a:gd name="T39" fmla="*/ 209 h 800"/>
                  <a:gd name="T40" fmla="*/ 375 w 800"/>
                  <a:gd name="T41" fmla="*/ 55 h 800"/>
                  <a:gd name="T42" fmla="*/ 375 w 800"/>
                  <a:gd name="T43" fmla="*/ 375 h 800"/>
                  <a:gd name="T44" fmla="*/ 241 w 800"/>
                  <a:gd name="T45" fmla="*/ 257 h 800"/>
                  <a:gd name="T46" fmla="*/ 375 w 800"/>
                  <a:gd name="T47" fmla="*/ 375 h 800"/>
                  <a:gd name="T48" fmla="*/ 242 w 800"/>
                  <a:gd name="T49" fmla="*/ 546 h 800"/>
                  <a:gd name="T50" fmla="*/ 375 w 800"/>
                  <a:gd name="T51" fmla="*/ 425 h 800"/>
                  <a:gd name="T52" fmla="*/ 375 w 800"/>
                  <a:gd name="T53" fmla="*/ 746 h 800"/>
                  <a:gd name="T54" fmla="*/ 256 w 800"/>
                  <a:gd name="T55" fmla="*/ 594 h 800"/>
                  <a:gd name="T56" fmla="*/ 375 w 800"/>
                  <a:gd name="T57" fmla="*/ 746 h 800"/>
                  <a:gd name="T58" fmla="*/ 208 w 800"/>
                  <a:gd name="T59" fmla="*/ 607 h 800"/>
                  <a:gd name="T60" fmla="*/ 141 w 800"/>
                  <a:gd name="T61" fmla="*/ 635 h 800"/>
                  <a:gd name="T62" fmla="*/ 52 w 800"/>
                  <a:gd name="T63" fmla="*/ 425 h 800"/>
                  <a:gd name="T64" fmla="*/ 194 w 800"/>
                  <a:gd name="T65" fmla="*/ 559 h 800"/>
                  <a:gd name="T66" fmla="*/ 108 w 800"/>
                  <a:gd name="T67" fmla="*/ 208 h 800"/>
                  <a:gd name="T68" fmla="*/ 176 w 800"/>
                  <a:gd name="T69" fmla="*/ 375 h 800"/>
                  <a:gd name="T70" fmla="*/ 108 w 800"/>
                  <a:gd name="T71" fmla="*/ 208 h 800"/>
                  <a:gd name="T72" fmla="*/ 207 w 800"/>
                  <a:gd name="T73" fmla="*/ 196 h 800"/>
                  <a:gd name="T74" fmla="*/ 268 w 800"/>
                  <a:gd name="T75" fmla="*/ 76 h 800"/>
                  <a:gd name="T76" fmla="*/ 425 w 800"/>
                  <a:gd name="T77" fmla="*/ 0 h 800"/>
                  <a:gd name="T78" fmla="*/ 375 w 800"/>
                  <a:gd name="T79" fmla="*/ 1 h 800"/>
                  <a:gd name="T80" fmla="*/ 0 w 800"/>
                  <a:gd name="T81" fmla="*/ 375 h 800"/>
                  <a:gd name="T82" fmla="*/ 1 w 800"/>
                  <a:gd name="T83" fmla="*/ 425 h 800"/>
                  <a:gd name="T84" fmla="*/ 375 w 800"/>
                  <a:gd name="T85" fmla="*/ 800 h 800"/>
                  <a:gd name="T86" fmla="*/ 425 w 800"/>
                  <a:gd name="T87" fmla="*/ 799 h 800"/>
                  <a:gd name="T88" fmla="*/ 800 w 800"/>
                  <a:gd name="T89" fmla="*/ 425 h 800"/>
                  <a:gd name="T90" fmla="*/ 799 w 800"/>
                  <a:gd name="T91" fmla="*/ 375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00" h="800">
                    <a:moveTo>
                      <a:pt x="749" y="375"/>
                    </a:moveTo>
                    <a:lnTo>
                      <a:pt x="625" y="375"/>
                    </a:lnTo>
                    <a:cubicBezTo>
                      <a:pt x="623" y="329"/>
                      <a:pt x="617" y="285"/>
                      <a:pt x="607" y="244"/>
                    </a:cubicBezTo>
                    <a:cubicBezTo>
                      <a:pt x="638" y="234"/>
                      <a:pt x="667" y="222"/>
                      <a:pt x="692" y="208"/>
                    </a:cubicBezTo>
                    <a:cubicBezTo>
                      <a:pt x="725" y="257"/>
                      <a:pt x="745" y="314"/>
                      <a:pt x="749" y="375"/>
                    </a:cubicBezTo>
                    <a:close/>
                    <a:moveTo>
                      <a:pt x="691" y="595"/>
                    </a:moveTo>
                    <a:cubicBezTo>
                      <a:pt x="666" y="581"/>
                      <a:pt x="637" y="569"/>
                      <a:pt x="607" y="559"/>
                    </a:cubicBezTo>
                    <a:cubicBezTo>
                      <a:pt x="617" y="518"/>
                      <a:pt x="623" y="473"/>
                      <a:pt x="625" y="425"/>
                    </a:cubicBezTo>
                    <a:lnTo>
                      <a:pt x="749" y="425"/>
                    </a:lnTo>
                    <a:cubicBezTo>
                      <a:pt x="745" y="488"/>
                      <a:pt x="724" y="546"/>
                      <a:pt x="691" y="595"/>
                    </a:cubicBezTo>
                    <a:close/>
                    <a:moveTo>
                      <a:pt x="532" y="724"/>
                    </a:moveTo>
                    <a:cubicBezTo>
                      <a:pt x="557" y="693"/>
                      <a:pt x="577" y="653"/>
                      <a:pt x="593" y="607"/>
                    </a:cubicBezTo>
                    <a:cubicBezTo>
                      <a:pt x="617" y="615"/>
                      <a:pt x="639" y="624"/>
                      <a:pt x="660" y="635"/>
                    </a:cubicBezTo>
                    <a:cubicBezTo>
                      <a:pt x="625" y="673"/>
                      <a:pt x="581" y="704"/>
                      <a:pt x="532" y="724"/>
                    </a:cubicBezTo>
                    <a:close/>
                    <a:moveTo>
                      <a:pt x="425" y="746"/>
                    </a:moveTo>
                    <a:lnTo>
                      <a:pt x="425" y="579"/>
                    </a:lnTo>
                    <a:cubicBezTo>
                      <a:pt x="467" y="580"/>
                      <a:pt x="507" y="585"/>
                      <a:pt x="545" y="594"/>
                    </a:cubicBezTo>
                    <a:cubicBezTo>
                      <a:pt x="536" y="617"/>
                      <a:pt x="527" y="639"/>
                      <a:pt x="516" y="659"/>
                    </a:cubicBezTo>
                    <a:cubicBezTo>
                      <a:pt x="490" y="705"/>
                      <a:pt x="458" y="735"/>
                      <a:pt x="425" y="746"/>
                    </a:cubicBezTo>
                    <a:close/>
                    <a:moveTo>
                      <a:pt x="425" y="425"/>
                    </a:moveTo>
                    <a:lnTo>
                      <a:pt x="575" y="425"/>
                    </a:lnTo>
                    <a:cubicBezTo>
                      <a:pt x="573" y="468"/>
                      <a:pt x="568" y="508"/>
                      <a:pt x="559" y="546"/>
                    </a:cubicBezTo>
                    <a:cubicBezTo>
                      <a:pt x="516" y="536"/>
                      <a:pt x="472" y="530"/>
                      <a:pt x="425" y="529"/>
                    </a:cubicBezTo>
                    <a:lnTo>
                      <a:pt x="425" y="425"/>
                    </a:lnTo>
                    <a:close/>
                    <a:moveTo>
                      <a:pt x="425" y="275"/>
                    </a:moveTo>
                    <a:cubicBezTo>
                      <a:pt x="472" y="273"/>
                      <a:pt x="517" y="267"/>
                      <a:pt x="559" y="257"/>
                    </a:cubicBezTo>
                    <a:cubicBezTo>
                      <a:pt x="568" y="294"/>
                      <a:pt x="573" y="334"/>
                      <a:pt x="575" y="375"/>
                    </a:cubicBezTo>
                    <a:lnTo>
                      <a:pt x="425" y="375"/>
                    </a:lnTo>
                    <a:lnTo>
                      <a:pt x="425" y="275"/>
                    </a:lnTo>
                    <a:close/>
                    <a:moveTo>
                      <a:pt x="425" y="55"/>
                    </a:moveTo>
                    <a:cubicBezTo>
                      <a:pt x="458" y="65"/>
                      <a:pt x="490" y="96"/>
                      <a:pt x="516" y="142"/>
                    </a:cubicBezTo>
                    <a:cubicBezTo>
                      <a:pt x="527" y="162"/>
                      <a:pt x="537" y="185"/>
                      <a:pt x="545" y="209"/>
                    </a:cubicBezTo>
                    <a:cubicBezTo>
                      <a:pt x="507" y="218"/>
                      <a:pt x="467" y="223"/>
                      <a:pt x="425" y="225"/>
                    </a:cubicBezTo>
                    <a:lnTo>
                      <a:pt x="425" y="55"/>
                    </a:lnTo>
                    <a:close/>
                    <a:moveTo>
                      <a:pt x="661" y="168"/>
                    </a:moveTo>
                    <a:cubicBezTo>
                      <a:pt x="641" y="179"/>
                      <a:pt x="618" y="188"/>
                      <a:pt x="594" y="196"/>
                    </a:cubicBezTo>
                    <a:cubicBezTo>
                      <a:pt x="578" y="149"/>
                      <a:pt x="557" y="108"/>
                      <a:pt x="532" y="76"/>
                    </a:cubicBezTo>
                    <a:cubicBezTo>
                      <a:pt x="582" y="97"/>
                      <a:pt x="626" y="128"/>
                      <a:pt x="661" y="168"/>
                    </a:cubicBezTo>
                    <a:close/>
                    <a:moveTo>
                      <a:pt x="375" y="225"/>
                    </a:moveTo>
                    <a:cubicBezTo>
                      <a:pt x="334" y="223"/>
                      <a:pt x="293" y="218"/>
                      <a:pt x="255" y="209"/>
                    </a:cubicBezTo>
                    <a:cubicBezTo>
                      <a:pt x="264" y="185"/>
                      <a:pt x="273" y="162"/>
                      <a:pt x="285" y="142"/>
                    </a:cubicBezTo>
                    <a:cubicBezTo>
                      <a:pt x="311" y="96"/>
                      <a:pt x="343" y="65"/>
                      <a:pt x="375" y="55"/>
                    </a:cubicBezTo>
                    <a:lnTo>
                      <a:pt x="375" y="225"/>
                    </a:lnTo>
                    <a:close/>
                    <a:moveTo>
                      <a:pt x="375" y="375"/>
                    </a:moveTo>
                    <a:lnTo>
                      <a:pt x="226" y="375"/>
                    </a:lnTo>
                    <a:cubicBezTo>
                      <a:pt x="228" y="334"/>
                      <a:pt x="233" y="294"/>
                      <a:pt x="241" y="257"/>
                    </a:cubicBezTo>
                    <a:cubicBezTo>
                      <a:pt x="284" y="267"/>
                      <a:pt x="329" y="273"/>
                      <a:pt x="375" y="275"/>
                    </a:cubicBezTo>
                    <a:lnTo>
                      <a:pt x="375" y="375"/>
                    </a:lnTo>
                    <a:close/>
                    <a:moveTo>
                      <a:pt x="375" y="529"/>
                    </a:moveTo>
                    <a:cubicBezTo>
                      <a:pt x="329" y="530"/>
                      <a:pt x="284" y="536"/>
                      <a:pt x="242" y="546"/>
                    </a:cubicBezTo>
                    <a:cubicBezTo>
                      <a:pt x="233" y="508"/>
                      <a:pt x="228" y="467"/>
                      <a:pt x="226" y="425"/>
                    </a:cubicBezTo>
                    <a:lnTo>
                      <a:pt x="375" y="425"/>
                    </a:lnTo>
                    <a:lnTo>
                      <a:pt x="375" y="529"/>
                    </a:lnTo>
                    <a:close/>
                    <a:moveTo>
                      <a:pt x="375" y="746"/>
                    </a:moveTo>
                    <a:cubicBezTo>
                      <a:pt x="343" y="735"/>
                      <a:pt x="311" y="705"/>
                      <a:pt x="285" y="659"/>
                    </a:cubicBezTo>
                    <a:cubicBezTo>
                      <a:pt x="274" y="639"/>
                      <a:pt x="264" y="617"/>
                      <a:pt x="256" y="594"/>
                    </a:cubicBezTo>
                    <a:cubicBezTo>
                      <a:pt x="294" y="585"/>
                      <a:pt x="334" y="580"/>
                      <a:pt x="375" y="579"/>
                    </a:cubicBezTo>
                    <a:lnTo>
                      <a:pt x="375" y="746"/>
                    </a:lnTo>
                    <a:close/>
                    <a:moveTo>
                      <a:pt x="141" y="635"/>
                    </a:moveTo>
                    <a:cubicBezTo>
                      <a:pt x="161" y="624"/>
                      <a:pt x="184" y="615"/>
                      <a:pt x="208" y="607"/>
                    </a:cubicBezTo>
                    <a:cubicBezTo>
                      <a:pt x="223" y="653"/>
                      <a:pt x="244" y="693"/>
                      <a:pt x="268" y="724"/>
                    </a:cubicBezTo>
                    <a:cubicBezTo>
                      <a:pt x="219" y="704"/>
                      <a:pt x="176" y="673"/>
                      <a:pt x="141" y="635"/>
                    </a:cubicBezTo>
                    <a:close/>
                    <a:moveTo>
                      <a:pt x="109" y="595"/>
                    </a:moveTo>
                    <a:cubicBezTo>
                      <a:pt x="77" y="546"/>
                      <a:pt x="56" y="488"/>
                      <a:pt x="52" y="425"/>
                    </a:cubicBezTo>
                    <a:lnTo>
                      <a:pt x="176" y="425"/>
                    </a:lnTo>
                    <a:cubicBezTo>
                      <a:pt x="177" y="473"/>
                      <a:pt x="184" y="518"/>
                      <a:pt x="194" y="559"/>
                    </a:cubicBezTo>
                    <a:cubicBezTo>
                      <a:pt x="163" y="569"/>
                      <a:pt x="135" y="581"/>
                      <a:pt x="109" y="595"/>
                    </a:cubicBezTo>
                    <a:close/>
                    <a:moveTo>
                      <a:pt x="108" y="208"/>
                    </a:moveTo>
                    <a:cubicBezTo>
                      <a:pt x="134" y="222"/>
                      <a:pt x="163" y="234"/>
                      <a:pt x="193" y="244"/>
                    </a:cubicBezTo>
                    <a:cubicBezTo>
                      <a:pt x="183" y="285"/>
                      <a:pt x="177" y="329"/>
                      <a:pt x="176" y="375"/>
                    </a:cubicBezTo>
                    <a:lnTo>
                      <a:pt x="52" y="375"/>
                    </a:lnTo>
                    <a:cubicBezTo>
                      <a:pt x="56" y="314"/>
                      <a:pt x="76" y="257"/>
                      <a:pt x="108" y="208"/>
                    </a:cubicBezTo>
                    <a:close/>
                    <a:moveTo>
                      <a:pt x="268" y="76"/>
                    </a:moveTo>
                    <a:cubicBezTo>
                      <a:pt x="244" y="108"/>
                      <a:pt x="223" y="149"/>
                      <a:pt x="207" y="196"/>
                    </a:cubicBezTo>
                    <a:cubicBezTo>
                      <a:pt x="183" y="188"/>
                      <a:pt x="160" y="179"/>
                      <a:pt x="139" y="168"/>
                    </a:cubicBezTo>
                    <a:cubicBezTo>
                      <a:pt x="175" y="128"/>
                      <a:pt x="219" y="97"/>
                      <a:pt x="268" y="76"/>
                    </a:cubicBezTo>
                    <a:close/>
                    <a:moveTo>
                      <a:pt x="425" y="1"/>
                    </a:moveTo>
                    <a:lnTo>
                      <a:pt x="425" y="0"/>
                    </a:lnTo>
                    <a:lnTo>
                      <a:pt x="375" y="0"/>
                    </a:lnTo>
                    <a:lnTo>
                      <a:pt x="375" y="1"/>
                    </a:lnTo>
                    <a:cubicBezTo>
                      <a:pt x="174" y="14"/>
                      <a:pt x="14" y="174"/>
                      <a:pt x="1" y="375"/>
                    </a:cubicBezTo>
                    <a:lnTo>
                      <a:pt x="0" y="375"/>
                    </a:lnTo>
                    <a:lnTo>
                      <a:pt x="0" y="425"/>
                    </a:lnTo>
                    <a:lnTo>
                      <a:pt x="1" y="425"/>
                    </a:lnTo>
                    <a:cubicBezTo>
                      <a:pt x="14" y="626"/>
                      <a:pt x="174" y="787"/>
                      <a:pt x="375" y="799"/>
                    </a:cubicBezTo>
                    <a:lnTo>
                      <a:pt x="375" y="800"/>
                    </a:lnTo>
                    <a:lnTo>
                      <a:pt x="425" y="800"/>
                    </a:lnTo>
                    <a:lnTo>
                      <a:pt x="425" y="799"/>
                    </a:lnTo>
                    <a:cubicBezTo>
                      <a:pt x="626" y="787"/>
                      <a:pt x="787" y="626"/>
                      <a:pt x="799" y="425"/>
                    </a:cubicBezTo>
                    <a:lnTo>
                      <a:pt x="800" y="425"/>
                    </a:lnTo>
                    <a:lnTo>
                      <a:pt x="800" y="375"/>
                    </a:lnTo>
                    <a:lnTo>
                      <a:pt x="799" y="375"/>
                    </a:lnTo>
                    <a:cubicBezTo>
                      <a:pt x="787" y="174"/>
                      <a:pt x="626" y="14"/>
                      <a:pt x="42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66" name="Handshake2">
                <a:extLst>
                  <a:ext uri="{FF2B5EF4-FFF2-40B4-BE49-F238E27FC236}">
                    <a16:creationId xmlns:a16="http://schemas.microsoft.com/office/drawing/2014/main" id="{B064C709-4878-4F2A-BE84-7C5A6A66E37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5909904" y="864284"/>
                <a:ext cx="400471" cy="254169"/>
                <a:chOff x="73" y="153"/>
                <a:chExt cx="323" cy="205"/>
              </a:xfrm>
              <a:solidFill>
                <a:schemeClr val="bg1"/>
              </a:solidFill>
            </p:grpSpPr>
            <p:sp>
              <p:nvSpPr>
                <p:cNvPr id="467" name="Handshake2">
                  <a:extLst>
                    <a:ext uri="{FF2B5EF4-FFF2-40B4-BE49-F238E27FC236}">
                      <a16:creationId xmlns:a16="http://schemas.microsoft.com/office/drawing/2014/main" id="{466061FA-69BC-47A6-A848-3310C45084A1}"/>
                    </a:ext>
                  </a:extLst>
                </p:cNvPr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396" y="250"/>
                  <a:ext cx="0" cy="1"/>
                </a:xfrm>
                <a:custGeom>
                  <a:avLst/>
                  <a:gdLst>
                    <a:gd name="T0" fmla="*/ 0 h 2"/>
                    <a:gd name="T1" fmla="*/ 1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8" name="Handshake2">
                  <a:extLst>
                    <a:ext uri="{FF2B5EF4-FFF2-40B4-BE49-F238E27FC236}">
                      <a16:creationId xmlns:a16="http://schemas.microsoft.com/office/drawing/2014/main" id="{19152CEB-E81B-4FB3-B8C9-20D026520E5C}"/>
                    </a:ext>
                  </a:extLst>
                </p:cNvPr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368" y="154"/>
                  <a:ext cx="0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9" name="Handshake2">
                  <a:extLst>
                    <a:ext uri="{FF2B5EF4-FFF2-40B4-BE49-F238E27FC236}">
                      <a16:creationId xmlns:a16="http://schemas.microsoft.com/office/drawing/2014/main" id="{B8F56536-66B3-4B1C-9469-1347AE957167}"/>
                    </a:ext>
                  </a:extLst>
                </p:cNvPr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335" y="263"/>
                  <a:ext cx="19" cy="24"/>
                </a:xfrm>
                <a:custGeom>
                  <a:avLst/>
                  <a:gdLst>
                    <a:gd name="T0" fmla="*/ 1 w 49"/>
                    <a:gd name="T1" fmla="*/ 39 h 62"/>
                    <a:gd name="T2" fmla="*/ 31 w 49"/>
                    <a:gd name="T3" fmla="*/ 1 h 62"/>
                    <a:gd name="T4" fmla="*/ 33 w 49"/>
                    <a:gd name="T5" fmla="*/ 0 h 62"/>
                    <a:gd name="T6" fmla="*/ 9 w 49"/>
                    <a:gd name="T7" fmla="*/ 62 h 62"/>
                    <a:gd name="T8" fmla="*/ 1 w 49"/>
                    <a:gd name="T9" fmla="*/ 3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2">
                      <a:moveTo>
                        <a:pt x="1" y="39"/>
                      </a:moveTo>
                      <a:cubicBezTo>
                        <a:pt x="0" y="22"/>
                        <a:pt x="14" y="10"/>
                        <a:pt x="31" y="1"/>
                      </a:cubicBezTo>
                      <a:cubicBezTo>
                        <a:pt x="32" y="1"/>
                        <a:pt x="33" y="0"/>
                        <a:pt x="33" y="0"/>
                      </a:cubicBezTo>
                      <a:cubicBezTo>
                        <a:pt x="49" y="22"/>
                        <a:pt x="36" y="55"/>
                        <a:pt x="9" y="62"/>
                      </a:cubicBezTo>
                      <a:cubicBezTo>
                        <a:pt x="9" y="62"/>
                        <a:pt x="2" y="45"/>
                        <a:pt x="1" y="39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0" name="Handshake2">
                  <a:extLst>
                    <a:ext uri="{FF2B5EF4-FFF2-40B4-BE49-F238E27FC236}">
                      <a16:creationId xmlns:a16="http://schemas.microsoft.com/office/drawing/2014/main" id="{8C98A2D9-4DF1-459B-A5A6-4F8A8217C2F9}"/>
                    </a:ext>
                  </a:extLst>
                </p:cNvPr>
                <p:cNvSpPr>
                  <a:spLocks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303" y="265"/>
                  <a:ext cx="32" cy="48"/>
                </a:xfrm>
                <a:custGeom>
                  <a:avLst/>
                  <a:gdLst>
                    <a:gd name="T0" fmla="*/ 42 w 87"/>
                    <a:gd name="T1" fmla="*/ 117 h 127"/>
                    <a:gd name="T2" fmla="*/ 1 w 87"/>
                    <a:gd name="T3" fmla="*/ 54 h 127"/>
                    <a:gd name="T4" fmla="*/ 12 w 87"/>
                    <a:gd name="T5" fmla="*/ 26 h 127"/>
                    <a:gd name="T6" fmla="*/ 69 w 87"/>
                    <a:gd name="T7" fmla="*/ 44 h 127"/>
                    <a:gd name="T8" fmla="*/ 87 w 87"/>
                    <a:gd name="T9" fmla="*/ 88 h 127"/>
                    <a:gd name="T10" fmla="*/ 42 w 87"/>
                    <a:gd name="T11" fmla="*/ 117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127">
                      <a:moveTo>
                        <a:pt x="42" y="117"/>
                      </a:moveTo>
                      <a:cubicBezTo>
                        <a:pt x="25" y="109"/>
                        <a:pt x="3" y="74"/>
                        <a:pt x="1" y="54"/>
                      </a:cubicBezTo>
                      <a:cubicBezTo>
                        <a:pt x="0" y="46"/>
                        <a:pt x="2" y="33"/>
                        <a:pt x="12" y="26"/>
                      </a:cubicBezTo>
                      <a:cubicBezTo>
                        <a:pt x="45" y="0"/>
                        <a:pt x="62" y="30"/>
                        <a:pt x="69" y="44"/>
                      </a:cubicBezTo>
                      <a:cubicBezTo>
                        <a:pt x="69" y="44"/>
                        <a:pt x="87" y="76"/>
                        <a:pt x="87" y="88"/>
                      </a:cubicBezTo>
                      <a:cubicBezTo>
                        <a:pt x="87" y="106"/>
                        <a:pt x="60" y="127"/>
                        <a:pt x="42" y="11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1" name="Handshake2">
                  <a:extLst>
                    <a:ext uri="{FF2B5EF4-FFF2-40B4-BE49-F238E27FC236}">
                      <a16:creationId xmlns:a16="http://schemas.microsoft.com/office/drawing/2014/main" id="{048174F2-5AD5-4A96-AC7F-B8FDB2E8FC40}"/>
                    </a:ext>
                  </a:extLst>
                </p:cNvPr>
                <p:cNvSpPr>
                  <a:spLocks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292" y="278"/>
                  <a:ext cx="2" cy="4"/>
                </a:xfrm>
                <a:custGeom>
                  <a:avLst/>
                  <a:gdLst>
                    <a:gd name="T0" fmla="*/ 4 w 4"/>
                    <a:gd name="T1" fmla="*/ 0 h 12"/>
                    <a:gd name="T2" fmla="*/ 0 w 4"/>
                    <a:gd name="T3" fmla="*/ 12 h 12"/>
                    <a:gd name="T4" fmla="*/ 4 w 4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2">
                      <a:moveTo>
                        <a:pt x="4" y="0"/>
                      </a:moveTo>
                      <a:cubicBezTo>
                        <a:pt x="2" y="5"/>
                        <a:pt x="2" y="9"/>
                        <a:pt x="0" y="12"/>
                      </a:cubicBezTo>
                      <a:cubicBezTo>
                        <a:pt x="0" y="8"/>
                        <a:pt x="2" y="5"/>
                        <a:pt x="4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2" name="Handshake2">
                  <a:extLst>
                    <a:ext uri="{FF2B5EF4-FFF2-40B4-BE49-F238E27FC236}">
                      <a16:creationId xmlns:a16="http://schemas.microsoft.com/office/drawing/2014/main" id="{525FB0A1-FCCC-45C0-999A-577779D269B9}"/>
                    </a:ext>
                  </a:extLst>
                </p:cNvPr>
                <p:cNvSpPr>
                  <a:spLocks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88" y="282"/>
                  <a:ext cx="4" cy="1"/>
                </a:xfrm>
                <a:custGeom>
                  <a:avLst/>
                  <a:gdLst>
                    <a:gd name="T0" fmla="*/ 11 w 11"/>
                    <a:gd name="T1" fmla="*/ 2 h 2"/>
                    <a:gd name="T2" fmla="*/ 0 w 11"/>
                    <a:gd name="T3" fmla="*/ 0 h 2"/>
                    <a:gd name="T4" fmla="*/ 11 w 1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" h="2">
                      <a:moveTo>
                        <a:pt x="11" y="2"/>
                      </a:moveTo>
                      <a:cubicBezTo>
                        <a:pt x="8" y="2"/>
                        <a:pt x="5" y="1"/>
                        <a:pt x="0" y="0"/>
                      </a:cubicBezTo>
                      <a:cubicBezTo>
                        <a:pt x="6" y="0"/>
                        <a:pt x="10" y="1"/>
                        <a:pt x="11" y="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3" name="Handshake2">
                  <a:extLst>
                    <a:ext uri="{FF2B5EF4-FFF2-40B4-BE49-F238E27FC236}">
                      <a16:creationId xmlns:a16="http://schemas.microsoft.com/office/drawing/2014/main" id="{88DB3EBE-BC75-4F4F-915D-55D3890FE868}"/>
                    </a:ext>
                  </a:extLst>
                </p:cNvPr>
                <p:cNvSpPr>
                  <a:spLocks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73" y="153"/>
                  <a:ext cx="223" cy="139"/>
                </a:xfrm>
                <a:custGeom>
                  <a:avLst/>
                  <a:gdLst>
                    <a:gd name="T0" fmla="*/ 578 w 595"/>
                    <a:gd name="T1" fmla="*/ 145 h 371"/>
                    <a:gd name="T2" fmla="*/ 404 w 595"/>
                    <a:gd name="T3" fmla="*/ 96 h 371"/>
                    <a:gd name="T4" fmla="*/ 201 w 595"/>
                    <a:gd name="T5" fmla="*/ 264 h 371"/>
                    <a:gd name="T6" fmla="*/ 123 w 595"/>
                    <a:gd name="T7" fmla="*/ 365 h 371"/>
                    <a:gd name="T8" fmla="*/ 42 w 595"/>
                    <a:gd name="T9" fmla="*/ 353 h 371"/>
                    <a:gd name="T10" fmla="*/ 0 w 595"/>
                    <a:gd name="T11" fmla="*/ 342 h 371"/>
                    <a:gd name="T12" fmla="*/ 23 w 595"/>
                    <a:gd name="T13" fmla="*/ 279 h 371"/>
                    <a:gd name="T14" fmla="*/ 104 w 595"/>
                    <a:gd name="T15" fmla="*/ 76 h 371"/>
                    <a:gd name="T16" fmla="*/ 125 w 595"/>
                    <a:gd name="T17" fmla="*/ 86 h 371"/>
                    <a:gd name="T18" fmla="*/ 290 w 595"/>
                    <a:gd name="T19" fmla="*/ 86 h 371"/>
                    <a:gd name="T20" fmla="*/ 416 w 595"/>
                    <a:gd name="T21" fmla="*/ 6 h 371"/>
                    <a:gd name="T22" fmla="*/ 578 w 595"/>
                    <a:gd name="T23" fmla="*/ 145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95" h="371">
                      <a:moveTo>
                        <a:pt x="578" y="145"/>
                      </a:moveTo>
                      <a:cubicBezTo>
                        <a:pt x="553" y="208"/>
                        <a:pt x="434" y="81"/>
                        <a:pt x="404" y="96"/>
                      </a:cubicBezTo>
                      <a:cubicBezTo>
                        <a:pt x="382" y="106"/>
                        <a:pt x="218" y="250"/>
                        <a:pt x="201" y="264"/>
                      </a:cubicBezTo>
                      <a:cubicBezTo>
                        <a:pt x="116" y="336"/>
                        <a:pt x="128" y="363"/>
                        <a:pt x="123" y="365"/>
                      </a:cubicBezTo>
                      <a:cubicBezTo>
                        <a:pt x="124" y="364"/>
                        <a:pt x="101" y="371"/>
                        <a:pt x="42" y="353"/>
                      </a:cubicBezTo>
                      <a:cubicBezTo>
                        <a:pt x="27" y="348"/>
                        <a:pt x="13" y="344"/>
                        <a:pt x="0" y="342"/>
                      </a:cubicBezTo>
                      <a:cubicBezTo>
                        <a:pt x="7" y="321"/>
                        <a:pt x="14" y="300"/>
                        <a:pt x="23" y="279"/>
                      </a:cubicBezTo>
                      <a:cubicBezTo>
                        <a:pt x="49" y="216"/>
                        <a:pt x="75" y="142"/>
                        <a:pt x="104" y="76"/>
                      </a:cubicBezTo>
                      <a:cubicBezTo>
                        <a:pt x="111" y="79"/>
                        <a:pt x="118" y="83"/>
                        <a:pt x="125" y="86"/>
                      </a:cubicBezTo>
                      <a:cubicBezTo>
                        <a:pt x="177" y="111"/>
                        <a:pt x="241" y="143"/>
                        <a:pt x="290" y="86"/>
                      </a:cubicBezTo>
                      <a:cubicBezTo>
                        <a:pt x="318" y="54"/>
                        <a:pt x="371" y="11"/>
                        <a:pt x="416" y="6"/>
                      </a:cubicBezTo>
                      <a:cubicBezTo>
                        <a:pt x="454" y="0"/>
                        <a:pt x="595" y="120"/>
                        <a:pt x="578" y="145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4" name="Handshake2">
                  <a:extLst>
                    <a:ext uri="{FF2B5EF4-FFF2-40B4-BE49-F238E27FC236}">
                      <a16:creationId xmlns:a16="http://schemas.microsoft.com/office/drawing/2014/main" id="{20DAAD72-B054-4279-854B-AA6FF7F384C2}"/>
                    </a:ext>
                  </a:extLst>
                </p:cNvPr>
                <p:cNvSpPr>
                  <a:spLocks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275" y="290"/>
                  <a:ext cx="38" cy="42"/>
                </a:xfrm>
                <a:custGeom>
                  <a:avLst/>
                  <a:gdLst>
                    <a:gd name="T0" fmla="*/ 13 w 102"/>
                    <a:gd name="T1" fmla="*/ 12 h 112"/>
                    <a:gd name="T2" fmla="*/ 49 w 102"/>
                    <a:gd name="T3" fmla="*/ 5 h 112"/>
                    <a:gd name="T4" fmla="*/ 96 w 102"/>
                    <a:gd name="T5" fmla="*/ 59 h 112"/>
                    <a:gd name="T6" fmla="*/ 45 w 102"/>
                    <a:gd name="T7" fmla="*/ 101 h 112"/>
                    <a:gd name="T8" fmla="*/ 6 w 102"/>
                    <a:gd name="T9" fmla="*/ 61 h 112"/>
                    <a:gd name="T10" fmla="*/ 13 w 102"/>
                    <a:gd name="T11" fmla="*/ 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112">
                      <a:moveTo>
                        <a:pt x="13" y="12"/>
                      </a:moveTo>
                      <a:cubicBezTo>
                        <a:pt x="27" y="0"/>
                        <a:pt x="41" y="1"/>
                        <a:pt x="49" y="5"/>
                      </a:cubicBezTo>
                      <a:cubicBezTo>
                        <a:pt x="74" y="15"/>
                        <a:pt x="96" y="59"/>
                        <a:pt x="96" y="59"/>
                      </a:cubicBezTo>
                      <a:cubicBezTo>
                        <a:pt x="102" y="89"/>
                        <a:pt x="72" y="112"/>
                        <a:pt x="45" y="101"/>
                      </a:cubicBezTo>
                      <a:cubicBezTo>
                        <a:pt x="32" y="95"/>
                        <a:pt x="12" y="73"/>
                        <a:pt x="6" y="61"/>
                      </a:cubicBezTo>
                      <a:cubicBezTo>
                        <a:pt x="1" y="50"/>
                        <a:pt x="0" y="22"/>
                        <a:pt x="13" y="1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5" name="Handshake2">
                  <a:extLst>
                    <a:ext uri="{FF2B5EF4-FFF2-40B4-BE49-F238E27FC236}">
                      <a16:creationId xmlns:a16="http://schemas.microsoft.com/office/drawing/2014/main" id="{B2D088B2-9135-46A1-A344-1130FFCAE0E5}"/>
                    </a:ext>
                  </a:extLst>
                </p:cNvPr>
                <p:cNvSpPr>
                  <a:spLocks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257" y="316"/>
                  <a:ext cx="34" cy="37"/>
                </a:xfrm>
                <a:custGeom>
                  <a:avLst/>
                  <a:gdLst>
                    <a:gd name="T0" fmla="*/ 81 w 90"/>
                    <a:gd name="T1" fmla="*/ 51 h 99"/>
                    <a:gd name="T2" fmla="*/ 17 w 90"/>
                    <a:gd name="T3" fmla="*/ 84 h 99"/>
                    <a:gd name="T4" fmla="*/ 17 w 90"/>
                    <a:gd name="T5" fmla="*/ 84 h 99"/>
                    <a:gd name="T6" fmla="*/ 15 w 90"/>
                    <a:gd name="T7" fmla="*/ 81 h 99"/>
                    <a:gd name="T8" fmla="*/ 6 w 90"/>
                    <a:gd name="T9" fmla="*/ 61 h 99"/>
                    <a:gd name="T10" fmla="*/ 21 w 90"/>
                    <a:gd name="T11" fmla="*/ 19 h 99"/>
                    <a:gd name="T12" fmla="*/ 81 w 90"/>
                    <a:gd name="T13" fmla="*/ 51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" h="99">
                      <a:moveTo>
                        <a:pt x="81" y="51"/>
                      </a:moveTo>
                      <a:cubicBezTo>
                        <a:pt x="90" y="75"/>
                        <a:pt x="54" y="99"/>
                        <a:pt x="17" y="84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6" y="84"/>
                        <a:pt x="16" y="82"/>
                        <a:pt x="15" y="81"/>
                      </a:cubicBezTo>
                      <a:cubicBezTo>
                        <a:pt x="13" y="76"/>
                        <a:pt x="6" y="67"/>
                        <a:pt x="6" y="61"/>
                      </a:cubicBezTo>
                      <a:cubicBezTo>
                        <a:pt x="0" y="43"/>
                        <a:pt x="12" y="28"/>
                        <a:pt x="21" y="19"/>
                      </a:cubicBezTo>
                      <a:cubicBezTo>
                        <a:pt x="37" y="0"/>
                        <a:pt x="76" y="36"/>
                        <a:pt x="81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6" name="Handshake2">
                  <a:extLst>
                    <a:ext uri="{FF2B5EF4-FFF2-40B4-BE49-F238E27FC236}">
                      <a16:creationId xmlns:a16="http://schemas.microsoft.com/office/drawing/2014/main" id="{1D49B845-768A-4C46-BA67-3A487C0954EE}"/>
                    </a:ext>
                  </a:extLst>
                </p:cNvPr>
                <p:cNvSpPr>
                  <a:spLocks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118" y="158"/>
                  <a:ext cx="274" cy="200"/>
                </a:xfrm>
                <a:custGeom>
                  <a:avLst/>
                  <a:gdLst>
                    <a:gd name="T0" fmla="*/ 372 w 731"/>
                    <a:gd name="T1" fmla="*/ 421 h 531"/>
                    <a:gd name="T2" fmla="*/ 357 w 731"/>
                    <a:gd name="T3" fmla="*/ 463 h 531"/>
                    <a:gd name="T4" fmla="*/ 361 w 731"/>
                    <a:gd name="T5" fmla="*/ 485 h 531"/>
                    <a:gd name="T6" fmla="*/ 288 w 731"/>
                    <a:gd name="T7" fmla="*/ 467 h 531"/>
                    <a:gd name="T8" fmla="*/ 386 w 731"/>
                    <a:gd name="T9" fmla="*/ 339 h 531"/>
                    <a:gd name="T10" fmla="*/ 268 w 731"/>
                    <a:gd name="T11" fmla="*/ 451 h 531"/>
                    <a:gd name="T12" fmla="*/ 205 w 731"/>
                    <a:gd name="T13" fmla="*/ 457 h 531"/>
                    <a:gd name="T14" fmla="*/ 195 w 731"/>
                    <a:gd name="T15" fmla="*/ 436 h 531"/>
                    <a:gd name="T16" fmla="*/ 342 w 731"/>
                    <a:gd name="T17" fmla="*/ 290 h 531"/>
                    <a:gd name="T18" fmla="*/ 181 w 731"/>
                    <a:gd name="T19" fmla="*/ 420 h 531"/>
                    <a:gd name="T20" fmla="*/ 155 w 731"/>
                    <a:gd name="T21" fmla="*/ 424 h 531"/>
                    <a:gd name="T22" fmla="*/ 127 w 731"/>
                    <a:gd name="T23" fmla="*/ 415 h 531"/>
                    <a:gd name="T24" fmla="*/ 124 w 731"/>
                    <a:gd name="T25" fmla="*/ 376 h 531"/>
                    <a:gd name="T26" fmla="*/ 271 w 731"/>
                    <a:gd name="T27" fmla="*/ 237 h 531"/>
                    <a:gd name="T28" fmla="*/ 192 w 731"/>
                    <a:gd name="T29" fmla="*/ 303 h 531"/>
                    <a:gd name="T30" fmla="*/ 78 w 731"/>
                    <a:gd name="T31" fmla="*/ 376 h 531"/>
                    <a:gd name="T32" fmla="*/ 43 w 731"/>
                    <a:gd name="T33" fmla="*/ 369 h 531"/>
                    <a:gd name="T34" fmla="*/ 35 w 731"/>
                    <a:gd name="T35" fmla="*/ 359 h 531"/>
                    <a:gd name="T36" fmla="*/ 291 w 731"/>
                    <a:gd name="T37" fmla="*/ 104 h 531"/>
                    <a:gd name="T38" fmla="*/ 432 w 731"/>
                    <a:gd name="T39" fmla="*/ 172 h 531"/>
                    <a:gd name="T40" fmla="*/ 490 w 731"/>
                    <a:gd name="T41" fmla="*/ 130 h 531"/>
                    <a:gd name="T42" fmla="*/ 384 w 731"/>
                    <a:gd name="T43" fmla="*/ 9 h 531"/>
                    <a:gd name="T44" fmla="*/ 500 w 731"/>
                    <a:gd name="T45" fmla="*/ 18 h 531"/>
                    <a:gd name="T46" fmla="*/ 573 w 731"/>
                    <a:gd name="T47" fmla="*/ 21 h 531"/>
                    <a:gd name="T48" fmla="*/ 665 w 731"/>
                    <a:gd name="T49" fmla="*/ 0 h 531"/>
                    <a:gd name="T50" fmla="*/ 725 w 731"/>
                    <a:gd name="T51" fmla="*/ 238 h 531"/>
                    <a:gd name="T52" fmla="*/ 597 w 731"/>
                    <a:gd name="T53" fmla="*/ 255 h 531"/>
                    <a:gd name="T54" fmla="*/ 560 w 731"/>
                    <a:gd name="T55" fmla="*/ 293 h 531"/>
                    <a:gd name="T56" fmla="*/ 487 w 731"/>
                    <a:gd name="T57" fmla="*/ 285 h 531"/>
                    <a:gd name="T58" fmla="*/ 471 w 731"/>
                    <a:gd name="T59" fmla="*/ 320 h 531"/>
                    <a:gd name="T60" fmla="*/ 468 w 731"/>
                    <a:gd name="T61" fmla="*/ 332 h 531"/>
                    <a:gd name="T62" fmla="*/ 468 w 731"/>
                    <a:gd name="T63" fmla="*/ 332 h 531"/>
                    <a:gd name="T64" fmla="*/ 468 w 731"/>
                    <a:gd name="T65" fmla="*/ 333 h 531"/>
                    <a:gd name="T66" fmla="*/ 457 w 731"/>
                    <a:gd name="T67" fmla="*/ 331 h 531"/>
                    <a:gd name="T68" fmla="*/ 457 w 731"/>
                    <a:gd name="T69" fmla="*/ 331 h 531"/>
                    <a:gd name="T70" fmla="*/ 456 w 731"/>
                    <a:gd name="T71" fmla="*/ 331 h 531"/>
                    <a:gd name="T72" fmla="*/ 415 w 731"/>
                    <a:gd name="T73" fmla="*/ 338 h 531"/>
                    <a:gd name="T74" fmla="*/ 405 w 731"/>
                    <a:gd name="T75" fmla="*/ 391 h 531"/>
                    <a:gd name="T76" fmla="*/ 408 w 731"/>
                    <a:gd name="T77" fmla="*/ 409 h 531"/>
                    <a:gd name="T78" fmla="*/ 372 w 731"/>
                    <a:gd name="T79" fmla="*/ 42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31" h="531">
                      <a:moveTo>
                        <a:pt x="372" y="421"/>
                      </a:moveTo>
                      <a:cubicBezTo>
                        <a:pt x="356" y="436"/>
                        <a:pt x="356" y="445"/>
                        <a:pt x="357" y="463"/>
                      </a:cubicBezTo>
                      <a:cubicBezTo>
                        <a:pt x="357" y="467"/>
                        <a:pt x="360" y="481"/>
                        <a:pt x="361" y="485"/>
                      </a:cubicBezTo>
                      <a:cubicBezTo>
                        <a:pt x="285" y="531"/>
                        <a:pt x="286" y="468"/>
                        <a:pt x="288" y="467"/>
                      </a:cubicBezTo>
                      <a:cubicBezTo>
                        <a:pt x="373" y="386"/>
                        <a:pt x="386" y="339"/>
                        <a:pt x="386" y="339"/>
                      </a:cubicBezTo>
                      <a:cubicBezTo>
                        <a:pt x="380" y="342"/>
                        <a:pt x="302" y="434"/>
                        <a:pt x="268" y="451"/>
                      </a:cubicBezTo>
                      <a:cubicBezTo>
                        <a:pt x="234" y="468"/>
                        <a:pt x="218" y="464"/>
                        <a:pt x="205" y="457"/>
                      </a:cubicBezTo>
                      <a:cubicBezTo>
                        <a:pt x="200" y="453"/>
                        <a:pt x="196" y="446"/>
                        <a:pt x="195" y="436"/>
                      </a:cubicBezTo>
                      <a:cubicBezTo>
                        <a:pt x="251" y="417"/>
                        <a:pt x="340" y="307"/>
                        <a:pt x="342" y="290"/>
                      </a:cubicBezTo>
                      <a:cubicBezTo>
                        <a:pt x="342" y="290"/>
                        <a:pt x="235" y="406"/>
                        <a:pt x="181" y="420"/>
                      </a:cubicBezTo>
                      <a:cubicBezTo>
                        <a:pt x="171" y="423"/>
                        <a:pt x="163" y="424"/>
                        <a:pt x="155" y="424"/>
                      </a:cubicBezTo>
                      <a:cubicBezTo>
                        <a:pt x="142" y="424"/>
                        <a:pt x="132" y="421"/>
                        <a:pt x="127" y="415"/>
                      </a:cubicBezTo>
                      <a:cubicBezTo>
                        <a:pt x="121" y="408"/>
                        <a:pt x="120" y="395"/>
                        <a:pt x="124" y="376"/>
                      </a:cubicBezTo>
                      <a:cubicBezTo>
                        <a:pt x="197" y="332"/>
                        <a:pt x="280" y="244"/>
                        <a:pt x="271" y="237"/>
                      </a:cubicBezTo>
                      <a:lnTo>
                        <a:pt x="192" y="303"/>
                      </a:lnTo>
                      <a:cubicBezTo>
                        <a:pt x="155" y="331"/>
                        <a:pt x="80" y="379"/>
                        <a:pt x="78" y="376"/>
                      </a:cubicBezTo>
                      <a:cubicBezTo>
                        <a:pt x="66" y="381"/>
                        <a:pt x="57" y="378"/>
                        <a:pt x="43" y="369"/>
                      </a:cubicBezTo>
                      <a:cubicBezTo>
                        <a:pt x="39" y="366"/>
                        <a:pt x="36" y="363"/>
                        <a:pt x="35" y="359"/>
                      </a:cubicBezTo>
                      <a:cubicBezTo>
                        <a:pt x="0" y="322"/>
                        <a:pt x="136" y="251"/>
                        <a:pt x="291" y="104"/>
                      </a:cubicBezTo>
                      <a:cubicBezTo>
                        <a:pt x="316" y="113"/>
                        <a:pt x="380" y="174"/>
                        <a:pt x="432" y="172"/>
                      </a:cubicBezTo>
                      <a:cubicBezTo>
                        <a:pt x="454" y="172"/>
                        <a:pt x="490" y="151"/>
                        <a:pt x="490" y="130"/>
                      </a:cubicBezTo>
                      <a:cubicBezTo>
                        <a:pt x="491" y="99"/>
                        <a:pt x="418" y="36"/>
                        <a:pt x="384" y="9"/>
                      </a:cubicBezTo>
                      <a:cubicBezTo>
                        <a:pt x="411" y="8"/>
                        <a:pt x="469" y="16"/>
                        <a:pt x="500" y="18"/>
                      </a:cubicBezTo>
                      <a:cubicBezTo>
                        <a:pt x="524" y="20"/>
                        <a:pt x="549" y="21"/>
                        <a:pt x="573" y="21"/>
                      </a:cubicBezTo>
                      <a:cubicBezTo>
                        <a:pt x="609" y="21"/>
                        <a:pt x="637" y="15"/>
                        <a:pt x="665" y="0"/>
                      </a:cubicBezTo>
                      <a:cubicBezTo>
                        <a:pt x="690" y="57"/>
                        <a:pt x="731" y="238"/>
                        <a:pt x="725" y="238"/>
                      </a:cubicBezTo>
                      <a:cubicBezTo>
                        <a:pt x="686" y="237"/>
                        <a:pt x="633" y="236"/>
                        <a:pt x="597" y="255"/>
                      </a:cubicBezTo>
                      <a:cubicBezTo>
                        <a:pt x="579" y="264"/>
                        <a:pt x="566" y="276"/>
                        <a:pt x="560" y="293"/>
                      </a:cubicBezTo>
                      <a:cubicBezTo>
                        <a:pt x="536" y="272"/>
                        <a:pt x="509" y="269"/>
                        <a:pt x="487" y="285"/>
                      </a:cubicBezTo>
                      <a:cubicBezTo>
                        <a:pt x="478" y="292"/>
                        <a:pt x="474" y="308"/>
                        <a:pt x="471" y="320"/>
                      </a:cubicBezTo>
                      <a:cubicBezTo>
                        <a:pt x="469" y="324"/>
                        <a:pt x="468" y="328"/>
                        <a:pt x="468" y="332"/>
                      </a:cubicBezTo>
                      <a:lnTo>
                        <a:pt x="468" y="332"/>
                      </a:lnTo>
                      <a:cubicBezTo>
                        <a:pt x="468" y="332"/>
                        <a:pt x="468" y="333"/>
                        <a:pt x="468" y="333"/>
                      </a:cubicBezTo>
                      <a:cubicBezTo>
                        <a:pt x="467" y="332"/>
                        <a:pt x="463" y="331"/>
                        <a:pt x="457" y="331"/>
                      </a:cubicBezTo>
                      <a:lnTo>
                        <a:pt x="457" y="331"/>
                      </a:lnTo>
                      <a:lnTo>
                        <a:pt x="456" y="331"/>
                      </a:lnTo>
                      <a:cubicBezTo>
                        <a:pt x="445" y="329"/>
                        <a:pt x="429" y="327"/>
                        <a:pt x="415" y="338"/>
                      </a:cubicBezTo>
                      <a:cubicBezTo>
                        <a:pt x="398" y="351"/>
                        <a:pt x="399" y="372"/>
                        <a:pt x="405" y="391"/>
                      </a:cubicBezTo>
                      <a:cubicBezTo>
                        <a:pt x="406" y="397"/>
                        <a:pt x="406" y="403"/>
                        <a:pt x="408" y="409"/>
                      </a:cubicBezTo>
                      <a:cubicBezTo>
                        <a:pt x="401" y="410"/>
                        <a:pt x="377" y="417"/>
                        <a:pt x="372" y="42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480" name="Oval 479">
              <a:extLst>
                <a:ext uri="{FF2B5EF4-FFF2-40B4-BE49-F238E27FC236}">
                  <a16:creationId xmlns:a16="http://schemas.microsoft.com/office/drawing/2014/main" id="{E65B7104-8945-4E66-B99B-81FA860237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1907" y="1305290"/>
              <a:ext cx="4249979" cy="4249979"/>
            </a:xfrm>
            <a:prstGeom prst="ellipse">
              <a:avLst/>
            </a:prstGeom>
            <a:gradFill>
              <a:gsLst>
                <a:gs pos="25000">
                  <a:schemeClr val="bg1">
                    <a:lumMod val="85000"/>
                  </a:schemeClr>
                </a:gs>
                <a:gs pos="12000">
                  <a:schemeClr val="bg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clear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E7AC0BF9-9057-4FEE-9250-52BE06AD8349}"/>
              </a:ext>
            </a:extLst>
          </p:cNvPr>
          <p:cNvGrpSpPr/>
          <p:nvPr/>
        </p:nvGrpSpPr>
        <p:grpSpPr>
          <a:xfrm>
            <a:off x="5870474" y="1783081"/>
            <a:ext cx="457200" cy="3304181"/>
            <a:chOff x="5870474" y="1783081"/>
            <a:chExt cx="457200" cy="330418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83087733-EFC1-40E4-A2F0-A53A0D7AC466}"/>
                </a:ext>
              </a:extLst>
            </p:cNvPr>
            <p:cNvSpPr/>
            <p:nvPr/>
          </p:nvSpPr>
          <p:spPr>
            <a:xfrm>
              <a:off x="5907997" y="1783081"/>
              <a:ext cx="376713" cy="3304181"/>
            </a:xfrm>
            <a:custGeom>
              <a:avLst/>
              <a:gdLst>
                <a:gd name="connsiteX0" fmla="*/ 283029 w 566058"/>
                <a:gd name="connsiteY0" fmla="*/ 3084288 h 3084289"/>
                <a:gd name="connsiteX1" fmla="*/ 283033 w 566058"/>
                <a:gd name="connsiteY1" fmla="*/ 3084288 h 3084289"/>
                <a:gd name="connsiteX2" fmla="*/ 283028 w 566058"/>
                <a:gd name="connsiteY2" fmla="*/ 3084289 h 3084289"/>
                <a:gd name="connsiteX3" fmla="*/ 283029 w 566058"/>
                <a:gd name="connsiteY3" fmla="*/ 0 h 3084289"/>
                <a:gd name="connsiteX4" fmla="*/ 566058 w 566058"/>
                <a:gd name="connsiteY4" fmla="*/ 283029 h 3084289"/>
                <a:gd name="connsiteX5" fmla="*/ 566058 w 566058"/>
                <a:gd name="connsiteY5" fmla="*/ 1556658 h 3084289"/>
                <a:gd name="connsiteX6" fmla="*/ 0 w 566058"/>
                <a:gd name="connsiteY6" fmla="*/ 1556658 h 3084289"/>
                <a:gd name="connsiteX7" fmla="*/ 0 w 566058"/>
                <a:gd name="connsiteY7" fmla="*/ 283029 h 3084289"/>
                <a:gd name="connsiteX8" fmla="*/ 283029 w 566058"/>
                <a:gd name="connsiteY8" fmla="*/ 0 h 308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3084289">
                  <a:moveTo>
                    <a:pt x="283029" y="3084288"/>
                  </a:moveTo>
                  <a:lnTo>
                    <a:pt x="283033" y="3084288"/>
                  </a:lnTo>
                  <a:lnTo>
                    <a:pt x="283028" y="3084289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1556658"/>
                  </a:lnTo>
                  <a:lnTo>
                    <a:pt x="0" y="1556658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Isosceles Triangle 529">
              <a:extLst>
                <a:ext uri="{FF2B5EF4-FFF2-40B4-BE49-F238E27FC236}">
                  <a16:creationId xmlns:a16="http://schemas.microsoft.com/office/drawing/2014/main" id="{09A6EC92-EAA6-4B08-85FE-52FE34515E33}"/>
                </a:ext>
              </a:extLst>
            </p:cNvPr>
            <p:cNvSpPr/>
            <p:nvPr/>
          </p:nvSpPr>
          <p:spPr>
            <a:xfrm>
              <a:off x="6004151" y="1788394"/>
              <a:ext cx="194027" cy="155306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Oval 530">
              <a:extLst>
                <a:ext uri="{FF2B5EF4-FFF2-40B4-BE49-F238E27FC236}">
                  <a16:creationId xmlns:a16="http://schemas.microsoft.com/office/drawing/2014/main" id="{EE8C554A-F4A2-4F0A-93E6-E32E3DAB54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70474" y="3203379"/>
              <a:ext cx="457200" cy="4571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32" name="Group 531">
            <a:extLst>
              <a:ext uri="{FF2B5EF4-FFF2-40B4-BE49-F238E27FC236}">
                <a16:creationId xmlns:a16="http://schemas.microsoft.com/office/drawing/2014/main" id="{D16B5B69-B4C5-4BD2-A00F-772B8D8EDD76}"/>
              </a:ext>
            </a:extLst>
          </p:cNvPr>
          <p:cNvGrpSpPr/>
          <p:nvPr/>
        </p:nvGrpSpPr>
        <p:grpSpPr>
          <a:xfrm>
            <a:off x="5844738" y="1329630"/>
            <a:ext cx="512844" cy="4190821"/>
            <a:chOff x="4012593" y="1324607"/>
            <a:chExt cx="512844" cy="419082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7E9F984E-80E0-49B7-A0AC-C0B3EEEFFF24}"/>
                </a:ext>
              </a:extLst>
            </p:cNvPr>
            <p:cNvSpPr/>
            <p:nvPr/>
          </p:nvSpPr>
          <p:spPr>
            <a:xfrm>
              <a:off x="4079268" y="1332227"/>
              <a:ext cx="376713" cy="4183201"/>
            </a:xfrm>
            <a:custGeom>
              <a:avLst/>
              <a:gdLst>
                <a:gd name="connsiteX0" fmla="*/ 283029 w 566058"/>
                <a:gd name="connsiteY0" fmla="*/ 4183200 h 4183201"/>
                <a:gd name="connsiteX1" fmla="*/ 283033 w 566058"/>
                <a:gd name="connsiteY1" fmla="*/ 4183200 h 4183201"/>
                <a:gd name="connsiteX2" fmla="*/ 283028 w 566058"/>
                <a:gd name="connsiteY2" fmla="*/ 4183201 h 4183201"/>
                <a:gd name="connsiteX3" fmla="*/ 283029 w 566058"/>
                <a:gd name="connsiteY3" fmla="*/ 0 h 4183201"/>
                <a:gd name="connsiteX4" fmla="*/ 566058 w 566058"/>
                <a:gd name="connsiteY4" fmla="*/ 283029 h 4183201"/>
                <a:gd name="connsiteX5" fmla="*/ 566058 w 566058"/>
                <a:gd name="connsiteY5" fmla="*/ 2106114 h 4183201"/>
                <a:gd name="connsiteX6" fmla="*/ 0 w 566058"/>
                <a:gd name="connsiteY6" fmla="*/ 2106114 h 4183201"/>
                <a:gd name="connsiteX7" fmla="*/ 0 w 566058"/>
                <a:gd name="connsiteY7" fmla="*/ 283029 h 4183201"/>
                <a:gd name="connsiteX8" fmla="*/ 283029 w 566058"/>
                <a:gd name="connsiteY8" fmla="*/ 0 h 418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4183201">
                  <a:moveTo>
                    <a:pt x="283029" y="4183200"/>
                  </a:moveTo>
                  <a:lnTo>
                    <a:pt x="283033" y="4183200"/>
                  </a:lnTo>
                  <a:lnTo>
                    <a:pt x="283028" y="4183201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2106114"/>
                  </a:lnTo>
                  <a:lnTo>
                    <a:pt x="0" y="2106114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Isosceles Triangle 533">
              <a:extLst>
                <a:ext uri="{FF2B5EF4-FFF2-40B4-BE49-F238E27FC236}">
                  <a16:creationId xmlns:a16="http://schemas.microsoft.com/office/drawing/2014/main" id="{9B80B8DE-DFA6-40CC-99CB-5BB83D5F8FA5}"/>
                </a:ext>
              </a:extLst>
            </p:cNvPr>
            <p:cNvSpPr/>
            <p:nvPr/>
          </p:nvSpPr>
          <p:spPr>
            <a:xfrm>
              <a:off x="4160930" y="1324607"/>
              <a:ext cx="213387" cy="203460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5" name="Oval 534">
              <a:extLst>
                <a:ext uri="{FF2B5EF4-FFF2-40B4-BE49-F238E27FC236}">
                  <a16:creationId xmlns:a16="http://schemas.microsoft.com/office/drawing/2014/main" id="{2BF01584-F422-4B3F-8111-FFC7C89D9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2593" y="3170581"/>
              <a:ext cx="512844" cy="51284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EBEA7B0A-C4ED-44B9-AC07-4AA30F2C8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12089" y="3271152"/>
              <a:ext cx="319026" cy="319025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5" name="Callout: Bent Line with Accent Bar 544">
            <a:extLst>
              <a:ext uri="{FF2B5EF4-FFF2-40B4-BE49-F238E27FC236}">
                <a16:creationId xmlns:a16="http://schemas.microsoft.com/office/drawing/2014/main" id="{77D388A6-CACF-48F9-9869-8D2E38127FDB}"/>
              </a:ext>
            </a:extLst>
          </p:cNvPr>
          <p:cNvSpPr>
            <a:spLocks noChangeAspect="1"/>
          </p:cNvSpPr>
          <p:nvPr/>
        </p:nvSpPr>
        <p:spPr>
          <a:xfrm>
            <a:off x="8389100" y="1008628"/>
            <a:ext cx="3362826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5C2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IDEA GENERATIO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  <a:p>
            <a:pPr algn="ctr"/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6" name="Callout: Bent Line with Accent Bar 545">
            <a:extLst>
              <a:ext uri="{FF2B5EF4-FFF2-40B4-BE49-F238E27FC236}">
                <a16:creationId xmlns:a16="http://schemas.microsoft.com/office/drawing/2014/main" id="{1E32821A-A3B1-460E-A90C-84A6303B3CDF}"/>
              </a:ext>
            </a:extLst>
          </p:cNvPr>
          <p:cNvSpPr>
            <a:spLocks noChangeAspect="1"/>
          </p:cNvSpPr>
          <p:nvPr/>
        </p:nvSpPr>
        <p:spPr>
          <a:xfrm>
            <a:off x="9030932" y="2179554"/>
            <a:ext cx="3133910" cy="631519"/>
          </a:xfrm>
          <a:prstGeom prst="accentCallout2">
            <a:avLst>
              <a:gd name="adj1" fmla="val 50686"/>
              <a:gd name="adj2" fmla="val -1682"/>
              <a:gd name="adj3" fmla="val 49335"/>
              <a:gd name="adj4" fmla="val -10207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0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VALUATE THE ENVIRONMENT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  <a:p>
            <a:pPr algn="ctr"/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7" name="Callout: Bent Line with Accent Bar 546">
            <a:extLst>
              <a:ext uri="{FF2B5EF4-FFF2-40B4-BE49-F238E27FC236}">
                <a16:creationId xmlns:a16="http://schemas.microsoft.com/office/drawing/2014/main" id="{B1BB55FC-016F-4410-8209-2F0391013B63}"/>
              </a:ext>
            </a:extLst>
          </p:cNvPr>
          <p:cNvSpPr>
            <a:spLocks noChangeAspect="1"/>
          </p:cNvSpPr>
          <p:nvPr/>
        </p:nvSpPr>
        <p:spPr>
          <a:xfrm>
            <a:off x="9182209" y="3414854"/>
            <a:ext cx="3031316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MISSION,VISION &amp; STRATEGY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8" name="Callout: Bent Line with Accent Bar 547">
            <a:extLst>
              <a:ext uri="{FF2B5EF4-FFF2-40B4-BE49-F238E27FC236}">
                <a16:creationId xmlns:a16="http://schemas.microsoft.com/office/drawing/2014/main" id="{D9610E6D-59BA-4CD0-BC66-9BD6E7674F04}"/>
              </a:ext>
            </a:extLst>
          </p:cNvPr>
          <p:cNvSpPr>
            <a:spLocks noChangeAspect="1"/>
          </p:cNvSpPr>
          <p:nvPr/>
        </p:nvSpPr>
        <p:spPr>
          <a:xfrm>
            <a:off x="9054683" y="4688442"/>
            <a:ext cx="3133910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2914"/>
              <a:gd name="adj6" fmla="val -20111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FEBD1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MARKETING PLA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49" name="Callout: Bent Line with Accent Bar 548">
            <a:extLst>
              <a:ext uri="{FF2B5EF4-FFF2-40B4-BE49-F238E27FC236}">
                <a16:creationId xmlns:a16="http://schemas.microsoft.com/office/drawing/2014/main" id="{B967150D-6267-4D45-A386-2380B4179574}"/>
              </a:ext>
            </a:extLst>
          </p:cNvPr>
          <p:cNvSpPr>
            <a:spLocks noChangeAspect="1"/>
          </p:cNvSpPr>
          <p:nvPr/>
        </p:nvSpPr>
        <p:spPr>
          <a:xfrm>
            <a:off x="8389100" y="5623671"/>
            <a:ext cx="3028375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spc="300" dirty="0">
                <a:solidFill>
                  <a:srgbClr val="A9D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ORGANIZATIONAL PLA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0" name="Callout: Bent Line with Accent Bar 549">
            <a:extLst>
              <a:ext uri="{FF2B5EF4-FFF2-40B4-BE49-F238E27FC236}">
                <a16:creationId xmlns:a16="http://schemas.microsoft.com/office/drawing/2014/main" id="{3B24BF2E-7058-4E41-B217-D4FE501B59AF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28529" y="5576292"/>
            <a:ext cx="3028375" cy="631519"/>
          </a:xfrm>
          <a:prstGeom prst="accentCallout2">
            <a:avLst>
              <a:gd name="adj1" fmla="val 50926"/>
              <a:gd name="adj2" fmla="val -345"/>
              <a:gd name="adj3" fmla="val 50354"/>
              <a:gd name="adj4" fmla="val -16986"/>
              <a:gd name="adj5" fmla="val 528"/>
              <a:gd name="adj6" fmla="val -28813"/>
            </a:avLst>
          </a:prstGeom>
          <a:noFill/>
          <a:ln w="19050">
            <a:solidFill>
              <a:srgbClr val="00783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BCAA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JECT TIMELINE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1" name="Callout: Bent Line with Accent Bar 550">
            <a:extLst>
              <a:ext uri="{FF2B5EF4-FFF2-40B4-BE49-F238E27FC236}">
                <a16:creationId xmlns:a16="http://schemas.microsoft.com/office/drawing/2014/main" id="{4D38FFEF-072D-443B-A9C7-447753D6B942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344760" y="4643597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7395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C9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PRODUCT &amp; SERVICE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2" name="Callout: Bent Line with Accent Bar 551">
            <a:extLst>
              <a:ext uri="{FF2B5EF4-FFF2-40B4-BE49-F238E27FC236}">
                <a16:creationId xmlns:a16="http://schemas.microsoft.com/office/drawing/2014/main" id="{39F4F914-BB82-42A6-81CE-4A62F3BE91B7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94588" y="3349041"/>
            <a:ext cx="2774167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00FFE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INVENTORY MANAGEMENT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3" name="Callout: Bent Line with Accent Bar 552">
            <a:extLst>
              <a:ext uri="{FF2B5EF4-FFF2-40B4-BE49-F238E27FC236}">
                <a16:creationId xmlns:a16="http://schemas.microsoft.com/office/drawing/2014/main" id="{4965D165-A40E-4D06-AC7D-C5F949E6C95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404394" y="2179554"/>
            <a:ext cx="2707155" cy="631519"/>
          </a:xfrm>
          <a:prstGeom prst="accentCallout2">
            <a:avLst>
              <a:gd name="adj1" fmla="val 50738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8DB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QUALITY MANAGEMENT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4" name="Callout: Bent Line with Accent Bar 553">
            <a:extLst>
              <a:ext uri="{FF2B5EF4-FFF2-40B4-BE49-F238E27FC236}">
                <a16:creationId xmlns:a16="http://schemas.microsoft.com/office/drawing/2014/main" id="{AA0D3C4A-851E-41A6-8568-55132032ACD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503330" y="953834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50" spc="300" dirty="0">
                <a:solidFill>
                  <a:srgbClr val="9793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EVALUTION, CONTRON &amp; REVIEW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latin typeface="Sansation Light" panose="02000000000000000000" pitchFamily="2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CE973882-CF50-4DF4-8F40-645AEDDDAAC6}"/>
              </a:ext>
            </a:extLst>
          </p:cNvPr>
          <p:cNvSpPr txBox="1"/>
          <p:nvPr/>
        </p:nvSpPr>
        <p:spPr>
          <a:xfrm>
            <a:off x="4301097" y="6236120"/>
            <a:ext cx="35675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spc="300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FINANCIAL PLAN</a:t>
            </a:r>
          </a:p>
          <a:p>
            <a:r>
              <a:rPr lang="en-US" sz="105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</a:rPr>
              <a:t>Some text goes here. Some text goes here. Some text goes here. </a:t>
            </a:r>
            <a:endParaRPr lang="en-IN" sz="105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ansation Light" panose="02000000000000000000" pitchFamily="2" charset="0"/>
            </a:endParaRPr>
          </a:p>
          <a:p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0683A285-6700-431B-A973-49002C0D6DD1}"/>
              </a:ext>
            </a:extLst>
          </p:cNvPr>
          <p:cNvSpPr/>
          <p:nvPr/>
        </p:nvSpPr>
        <p:spPr>
          <a:xfrm>
            <a:off x="2628160" y="186035"/>
            <a:ext cx="693568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200" b="1" cap="none" spc="0" dirty="0">
                <a:ln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ansation Light" panose="02000000000000000000" pitchFamily="2" charset="0"/>
                <a:cs typeface="Dubai" panose="020B0604020202020204" pitchFamily="34" charset="-78"/>
              </a:rPr>
              <a:t>BUSINESS TIMELINE INFOGRAPHIC</a:t>
            </a:r>
            <a:endParaRPr lang="en-US" sz="3200" b="1" cap="none" spc="0" dirty="0">
              <a:ln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AC36417F-4F2A-4E77-A7E4-AFCD67A0919F}"/>
              </a:ext>
            </a:extLst>
          </p:cNvPr>
          <p:cNvSpPr/>
          <p:nvPr/>
        </p:nvSpPr>
        <p:spPr>
          <a:xfrm>
            <a:off x="4750119" y="3105835"/>
            <a:ext cx="2691763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1" cap="none" spc="0" dirty="0">
                <a:ln w="0"/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aargh" panose="00000400000000000000" pitchFamily="2" charset="0"/>
              </a:rPr>
              <a:t>THANKYOU</a:t>
            </a:r>
          </a:p>
        </p:txBody>
      </p:sp>
    </p:spTree>
    <p:extLst>
      <p:ext uri="{BB962C8B-B14F-4D97-AF65-F5344CB8AC3E}">
        <p14:creationId xmlns:p14="http://schemas.microsoft.com/office/powerpoint/2010/main" val="391478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5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17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10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26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10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33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4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35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1000"/>
                                        <p:tgtEl>
                                          <p:spTgt spid="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42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44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1000"/>
                                        <p:tgtEl>
                                          <p:spTgt spid="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51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53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1000"/>
                                        <p:tgtEl>
                                          <p:spTgt spid="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0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62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10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9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0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71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2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4" dur="1000"/>
                                        <p:tgtEl>
                                          <p:spTgt spid="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78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9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0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10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87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8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9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10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9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7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98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9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10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6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107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10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5" grpId="0" animBg="1"/>
      <p:bldP spid="546" grpId="0" animBg="1"/>
      <p:bldP spid="547" grpId="0" animBg="1"/>
      <p:bldP spid="548" grpId="0" animBg="1"/>
      <p:bldP spid="549" grpId="0" animBg="1"/>
      <p:bldP spid="550" grpId="0" animBg="1"/>
      <p:bldP spid="551" grpId="0" animBg="1"/>
      <p:bldP spid="552" grpId="0" animBg="1"/>
      <p:bldP spid="553" grpId="0" animBg="1"/>
      <p:bldP spid="554" grpId="0" animBg="1"/>
      <p:bldP spid="555" grpId="0"/>
      <p:bldP spid="55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rchery_POWER_USER_SEPARATOR_ICONS_on-target_POWER_USER_SEPARATOR_ICONS_relevant_POWER_USER_SEPARATOR_ICONS_target-shooti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ey bag*bag of money*money bags*money sack*moneybag*sack of money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rchery_POWER_USER_SEPARATOR_ICONS_on-target_POWER_USER_SEPARATOR_ICONS_relevant_POWER_USER_SEPARATOR_ICONS_target-shoot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ey bag*bag of money*money bags*money sack*moneybag*sack of money*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9</TotalTime>
  <Words>219</Words>
  <Application>Microsoft Office PowerPoint</Application>
  <PresentationFormat>Widescreen</PresentationFormat>
  <Paragraphs>27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aargh</vt:lpstr>
      <vt:lpstr>Arial</vt:lpstr>
      <vt:lpstr>Calibri</vt:lpstr>
      <vt:lpstr>Calibri Light</vt:lpstr>
      <vt:lpstr>Eras Demi ITC</vt:lpstr>
      <vt:lpstr>Gotham</vt:lpstr>
      <vt:lpstr>Sansation Light</vt:lpstr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87</cp:revision>
  <dcterms:created xsi:type="dcterms:W3CDTF">2019-02-22T10:36:45Z</dcterms:created>
  <dcterms:modified xsi:type="dcterms:W3CDTF">2019-02-23T08:34:05Z</dcterms:modified>
</cp:coreProperties>
</file>